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4"/>
    <p:sldMasterId id="2147483669" r:id="rId5"/>
  </p:sldMasterIdLst>
  <p:notesMasterIdLst>
    <p:notesMasterId r:id="rId11"/>
  </p:notesMasterIdLst>
  <p:sldIdLst>
    <p:sldId id="326" r:id="rId6"/>
    <p:sldId id="2147483599" r:id="rId7"/>
    <p:sldId id="2147483598" r:id="rId8"/>
    <p:sldId id="272" r:id="rId9"/>
    <p:sldId id="275" r:id="rId10"/>
  </p:sldIdLst>
  <p:sldSz cx="12192000" cy="6858000"/>
  <p:notesSz cx="6797675" cy="9926638"/>
  <p:custDataLst>
    <p:tags r:id="rId12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04C3E"/>
    <a:srgbClr val="712C57"/>
    <a:srgbClr val="6D8C7F"/>
    <a:srgbClr val="83AC9A"/>
    <a:srgbClr val="DCE2D6"/>
    <a:srgbClr val="FFC2C2"/>
    <a:srgbClr val="FAEEC3"/>
    <a:srgbClr val="BBCABA"/>
    <a:srgbClr val="507867"/>
    <a:srgbClr val="4664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38D5ACD-A4C4-4040-941D-4E0661063755}" v="8" dt="2025-05-29T11:18:42.726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57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22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maria, Shridhar" userId="8333b265-e735-45f8-a921-ce459cc3483a" providerId="ADAL" clId="{438D5ACD-A4C4-4040-941D-4E0661063755}"/>
    <pc:docChg chg="custSel modSld">
      <pc:chgData name="Chamaria, Shridhar" userId="8333b265-e735-45f8-a921-ce459cc3483a" providerId="ADAL" clId="{438D5ACD-A4C4-4040-941D-4E0661063755}" dt="2025-05-29T11:18:42.726" v="54"/>
      <pc:docMkLst>
        <pc:docMk/>
      </pc:docMkLst>
      <pc:sldChg chg="addSp delSp modSp mod">
        <pc:chgData name="Chamaria, Shridhar" userId="8333b265-e735-45f8-a921-ce459cc3483a" providerId="ADAL" clId="{438D5ACD-A4C4-4040-941D-4E0661063755}" dt="2025-05-29T11:18:42.726" v="54"/>
        <pc:sldMkLst>
          <pc:docMk/>
          <pc:sldMk cId="3147993296" sldId="326"/>
        </pc:sldMkLst>
        <pc:spChg chg="add del mod modVis">
          <ac:chgData name="Chamaria, Shridhar" userId="8333b265-e735-45f8-a921-ce459cc3483a" providerId="ADAL" clId="{438D5ACD-A4C4-4040-941D-4E0661063755}" dt="2025-05-29T11:18:27.830" v="23"/>
          <ac:spMkLst>
            <pc:docMk/>
            <pc:sldMk cId="3147993296" sldId="326"/>
            <ac:spMk id="2" creationId="{62EF87F8-EFE4-2148-D80E-00ED7E6B7C8B}"/>
          </ac:spMkLst>
        </pc:spChg>
        <pc:spChg chg="mod">
          <ac:chgData name="Chamaria, Shridhar" userId="8333b265-e735-45f8-a921-ce459cc3483a" providerId="ADAL" clId="{438D5ACD-A4C4-4040-941D-4E0661063755}" dt="2025-05-29T11:18:42.721" v="52" actId="948"/>
          <ac:spMkLst>
            <pc:docMk/>
            <pc:sldMk cId="3147993296" sldId="326"/>
            <ac:spMk id="3" creationId="{FBD7D053-33B8-42F5-A1D9-DB27B4FBC23D}"/>
          </ac:spMkLst>
        </pc:spChg>
        <pc:graphicFrameChg chg="mod">
          <ac:chgData name="Chamaria, Shridhar" userId="8333b265-e735-45f8-a921-ce459cc3483a" providerId="ADAL" clId="{438D5ACD-A4C4-4040-941D-4E0661063755}" dt="2025-05-29T11:18:42.726" v="54"/>
          <ac:graphicFrameMkLst>
            <pc:docMk/>
            <pc:sldMk cId="3147993296" sldId="326"/>
            <ac:graphicFrameMk id="5" creationId="{D20B36EA-A7FC-DE1C-B24A-EF2BF6BE694C}"/>
          </ac:graphicFrameMkLst>
        </pc:graphicFrameChg>
      </pc:sldChg>
    </pc:docChg>
  </pc:docChgLst>
  <pc:docChgLst>
    <pc:chgData name="Chamaria, Shridhar" userId="8333b265-e735-45f8-a921-ce459cc3483a" providerId="ADAL" clId="{312C8B4E-27B9-4D3B-AC86-A122E0E20E54}"/>
    <pc:docChg chg="undo custSel addSld delSld modSld">
      <pc:chgData name="Chamaria, Shridhar" userId="8333b265-e735-45f8-a921-ce459cc3483a" providerId="ADAL" clId="{312C8B4E-27B9-4D3B-AC86-A122E0E20E54}" dt="2025-05-28T06:48:59.936" v="589" actId="20577"/>
      <pc:docMkLst>
        <pc:docMk/>
      </pc:docMkLst>
      <pc:sldChg chg="addSp delSp modSp mod">
        <pc:chgData name="Chamaria, Shridhar" userId="8333b265-e735-45f8-a921-ce459cc3483a" providerId="ADAL" clId="{312C8B4E-27B9-4D3B-AC86-A122E0E20E54}" dt="2025-05-28T06:44:16.591" v="503"/>
        <pc:sldMkLst>
          <pc:docMk/>
          <pc:sldMk cId="3041737038" sldId="272"/>
        </pc:sldMkLst>
        <pc:spChg chg="mod">
          <ac:chgData name="Chamaria, Shridhar" userId="8333b265-e735-45f8-a921-ce459cc3483a" providerId="ADAL" clId="{312C8B4E-27B9-4D3B-AC86-A122E0E20E54}" dt="2025-05-28T06:42:58.072" v="489" actId="948"/>
          <ac:spMkLst>
            <pc:docMk/>
            <pc:sldMk cId="3041737038" sldId="272"/>
            <ac:spMk id="2" creationId="{CE6FFA5D-E1A1-4DE0-8213-E60943844B00}"/>
          </ac:spMkLst>
        </pc:spChg>
        <pc:spChg chg="add del mod modVis">
          <ac:chgData name="Chamaria, Shridhar" userId="8333b265-e735-45f8-a921-ce459cc3483a" providerId="ADAL" clId="{312C8B4E-27B9-4D3B-AC86-A122E0E20E54}" dt="2025-05-28T06:42:45.608" v="480"/>
          <ac:spMkLst>
            <pc:docMk/>
            <pc:sldMk cId="3041737038" sldId="272"/>
            <ac:spMk id="3" creationId="{F188FA40-27CF-B542-DD7E-63557FA12D87}"/>
          </ac:spMkLst>
        </pc:spChg>
        <pc:spChg chg="mod">
          <ac:chgData name="Chamaria, Shridhar" userId="8333b265-e735-45f8-a921-ce459cc3483a" providerId="ADAL" clId="{312C8B4E-27B9-4D3B-AC86-A122E0E20E54}" dt="2025-05-28T06:42:30.345" v="446" actId="20577"/>
          <ac:spMkLst>
            <pc:docMk/>
            <pc:sldMk cId="3041737038" sldId="272"/>
            <ac:spMk id="23" creationId="{00BA33E7-4BBA-D49B-124A-416815A58E74}"/>
          </ac:spMkLst>
        </pc:spChg>
        <pc:spChg chg="mod">
          <ac:chgData name="Chamaria, Shridhar" userId="8333b265-e735-45f8-a921-ce459cc3483a" providerId="ADAL" clId="{312C8B4E-27B9-4D3B-AC86-A122E0E20E54}" dt="2025-05-28T06:43:34.076" v="500"/>
          <ac:spMkLst>
            <pc:docMk/>
            <pc:sldMk cId="3041737038" sldId="272"/>
            <ac:spMk id="54" creationId="{DDA18443-674A-4C31-9C2A-38350319321C}"/>
          </ac:spMkLst>
        </pc:spChg>
        <pc:spChg chg="mod">
          <ac:chgData name="Chamaria, Shridhar" userId="8333b265-e735-45f8-a921-ce459cc3483a" providerId="ADAL" clId="{312C8B4E-27B9-4D3B-AC86-A122E0E20E54}" dt="2025-05-28T06:44:16.591" v="503"/>
          <ac:spMkLst>
            <pc:docMk/>
            <pc:sldMk cId="3041737038" sldId="272"/>
            <ac:spMk id="76" creationId="{00274750-460F-4179-94AF-B0BFBD5B11AB}"/>
          </ac:spMkLst>
        </pc:spChg>
        <pc:spChg chg="mod">
          <ac:chgData name="Chamaria, Shridhar" userId="8333b265-e735-45f8-a921-ce459cc3483a" providerId="ADAL" clId="{312C8B4E-27B9-4D3B-AC86-A122E0E20E54}" dt="2025-05-28T06:43:09.567" v="497" actId="20577"/>
          <ac:spMkLst>
            <pc:docMk/>
            <pc:sldMk cId="3041737038" sldId="272"/>
            <ac:spMk id="78" creationId="{36876A26-6D7A-4B87-9BDF-72744EB7AC94}"/>
          </ac:spMkLst>
        </pc:spChg>
        <pc:graphicFrameChg chg="mod">
          <ac:chgData name="Chamaria, Shridhar" userId="8333b265-e735-45f8-a921-ce459cc3483a" providerId="ADAL" clId="{312C8B4E-27B9-4D3B-AC86-A122E0E20E54}" dt="2025-05-28T06:42:58.082" v="491"/>
          <ac:graphicFrameMkLst>
            <pc:docMk/>
            <pc:sldMk cId="3041737038" sldId="272"/>
            <ac:graphicFrameMk id="30" creationId="{A0BA3DAD-9B34-4D4B-A195-6203D0A4A013}"/>
          </ac:graphicFrameMkLst>
        </pc:graphicFrameChg>
      </pc:sldChg>
      <pc:sldChg chg="addSp delSp modSp mod">
        <pc:chgData name="Chamaria, Shridhar" userId="8333b265-e735-45f8-a921-ce459cc3483a" providerId="ADAL" clId="{312C8B4E-27B9-4D3B-AC86-A122E0E20E54}" dt="2025-05-28T06:48:59.936" v="589" actId="20577"/>
        <pc:sldMkLst>
          <pc:docMk/>
          <pc:sldMk cId="2497496308" sldId="275"/>
        </pc:sldMkLst>
        <pc:spChg chg="mod">
          <ac:chgData name="Chamaria, Shridhar" userId="8333b265-e735-45f8-a921-ce459cc3483a" providerId="ADAL" clId="{312C8B4E-27B9-4D3B-AC86-A122E0E20E54}" dt="2025-05-28T06:45:17.944" v="525" actId="948"/>
          <ac:spMkLst>
            <pc:docMk/>
            <pc:sldMk cId="2497496308" sldId="275"/>
            <ac:spMk id="2" creationId="{00000000-0000-0000-0000-000000000000}"/>
          </ac:spMkLst>
        </pc:spChg>
        <pc:spChg chg="add del mod modVis">
          <ac:chgData name="Chamaria, Shridhar" userId="8333b265-e735-45f8-a921-ce459cc3483a" providerId="ADAL" clId="{312C8B4E-27B9-4D3B-AC86-A122E0E20E54}" dt="2025-05-28T06:45:17.975" v="552"/>
          <ac:spMkLst>
            <pc:docMk/>
            <pc:sldMk cId="2497496308" sldId="275"/>
            <ac:spMk id="9" creationId="{32BDE7B9-E5C0-86AB-E0A4-FB4026B1E2FC}"/>
          </ac:spMkLst>
        </pc:spChg>
        <pc:spChg chg="mod">
          <ac:chgData name="Chamaria, Shridhar" userId="8333b265-e735-45f8-a921-ce459cc3483a" providerId="ADAL" clId="{312C8B4E-27B9-4D3B-AC86-A122E0E20E54}" dt="2025-05-28T06:47:19.319" v="581" actId="20577"/>
          <ac:spMkLst>
            <pc:docMk/>
            <pc:sldMk cId="2497496308" sldId="275"/>
            <ac:spMk id="27" creationId="{0B1AEC19-6349-230D-A3C8-636ACF7073B1}"/>
          </ac:spMkLst>
        </pc:spChg>
        <pc:spChg chg="mod">
          <ac:chgData name="Chamaria, Shridhar" userId="8333b265-e735-45f8-a921-ce459cc3483a" providerId="ADAL" clId="{312C8B4E-27B9-4D3B-AC86-A122E0E20E54}" dt="2025-05-28T06:45:13.135" v="518"/>
          <ac:spMkLst>
            <pc:docMk/>
            <pc:sldMk cId="2497496308" sldId="275"/>
            <ac:spMk id="32" creationId="{5BE0CC4A-8D41-5FD0-EE12-FE06A7132DB6}"/>
          </ac:spMkLst>
        </pc:spChg>
        <pc:spChg chg="mod">
          <ac:chgData name="Chamaria, Shridhar" userId="8333b265-e735-45f8-a921-ce459cc3483a" providerId="ADAL" clId="{312C8B4E-27B9-4D3B-AC86-A122E0E20E54}" dt="2025-05-28T06:46:11.043" v="561" actId="20577"/>
          <ac:spMkLst>
            <pc:docMk/>
            <pc:sldMk cId="2497496308" sldId="275"/>
            <ac:spMk id="38" creationId="{6302D853-964E-515E-EEA9-155E11FE1BFC}"/>
          </ac:spMkLst>
        </pc:spChg>
        <pc:spChg chg="del">
          <ac:chgData name="Chamaria, Shridhar" userId="8333b265-e735-45f8-a921-ce459cc3483a" providerId="ADAL" clId="{312C8B4E-27B9-4D3B-AC86-A122E0E20E54}" dt="2025-05-28T06:44:46.747" v="504" actId="478"/>
          <ac:spMkLst>
            <pc:docMk/>
            <pc:sldMk cId="2497496308" sldId="275"/>
            <ac:spMk id="40" creationId="{2E6C3F59-64AC-3EF4-0FA7-B0FE02399084}"/>
          </ac:spMkLst>
        </pc:spChg>
        <pc:spChg chg="mod">
          <ac:chgData name="Chamaria, Shridhar" userId="8333b265-e735-45f8-a921-ce459cc3483a" providerId="ADAL" clId="{312C8B4E-27B9-4D3B-AC86-A122E0E20E54}" dt="2025-05-28T06:46:39.690" v="575" actId="20577"/>
          <ac:spMkLst>
            <pc:docMk/>
            <pc:sldMk cId="2497496308" sldId="275"/>
            <ac:spMk id="43" creationId="{388C118A-E06D-11B4-0DA2-5277A35476B7}"/>
          </ac:spMkLst>
        </pc:spChg>
        <pc:spChg chg="mod">
          <ac:chgData name="Chamaria, Shridhar" userId="8333b265-e735-45f8-a921-ce459cc3483a" providerId="ADAL" clId="{312C8B4E-27B9-4D3B-AC86-A122E0E20E54}" dt="2025-05-28T06:45:01.038" v="515" actId="207"/>
          <ac:spMkLst>
            <pc:docMk/>
            <pc:sldMk cId="2497496308" sldId="275"/>
            <ac:spMk id="54" creationId="{F8E2D875-6A2A-07F2-6757-F2A5FE9B7F49}"/>
          </ac:spMkLst>
        </pc:spChg>
        <pc:spChg chg="mod">
          <ac:chgData name="Chamaria, Shridhar" userId="8333b265-e735-45f8-a921-ce459cc3483a" providerId="ADAL" clId="{312C8B4E-27B9-4D3B-AC86-A122E0E20E54}" dt="2025-05-28T06:45:50.552" v="555" actId="20577"/>
          <ac:spMkLst>
            <pc:docMk/>
            <pc:sldMk cId="2497496308" sldId="275"/>
            <ac:spMk id="65" creationId="{AB0090E4-61AB-61EE-422C-60943F992230}"/>
          </ac:spMkLst>
        </pc:spChg>
        <pc:spChg chg="mod">
          <ac:chgData name="Chamaria, Shridhar" userId="8333b265-e735-45f8-a921-ce459cc3483a" providerId="ADAL" clId="{312C8B4E-27B9-4D3B-AC86-A122E0E20E54}" dt="2025-05-28T06:48:46.021" v="583" actId="20577"/>
          <ac:spMkLst>
            <pc:docMk/>
            <pc:sldMk cId="2497496308" sldId="275"/>
            <ac:spMk id="76" creationId="{4E3D08F3-CF7F-6822-5868-C81B01971792}"/>
          </ac:spMkLst>
        </pc:spChg>
        <pc:spChg chg="mod">
          <ac:chgData name="Chamaria, Shridhar" userId="8333b265-e735-45f8-a921-ce459cc3483a" providerId="ADAL" clId="{312C8B4E-27B9-4D3B-AC86-A122E0E20E54}" dt="2025-05-28T06:46:26.962" v="569" actId="20577"/>
          <ac:spMkLst>
            <pc:docMk/>
            <pc:sldMk cId="2497496308" sldId="275"/>
            <ac:spMk id="82" creationId="{218714F0-8CD2-C696-74E3-7DAC54B85EBB}"/>
          </ac:spMkLst>
        </pc:spChg>
        <pc:spChg chg="mod">
          <ac:chgData name="Chamaria, Shridhar" userId="8333b265-e735-45f8-a921-ce459cc3483a" providerId="ADAL" clId="{312C8B4E-27B9-4D3B-AC86-A122E0E20E54}" dt="2025-05-28T06:48:59.936" v="589" actId="20577"/>
          <ac:spMkLst>
            <pc:docMk/>
            <pc:sldMk cId="2497496308" sldId="275"/>
            <ac:spMk id="95" creationId="{F2C16358-7CE6-71A9-21ED-5AE5EE13162B}"/>
          </ac:spMkLst>
        </pc:spChg>
        <pc:graphicFrameChg chg="mod">
          <ac:chgData name="Chamaria, Shridhar" userId="8333b265-e735-45f8-a921-ce459cc3483a" providerId="ADAL" clId="{312C8B4E-27B9-4D3B-AC86-A122E0E20E54}" dt="2025-05-28T06:45:17.975" v="554"/>
          <ac:graphicFrameMkLst>
            <pc:docMk/>
            <pc:sldMk cId="2497496308" sldId="275"/>
            <ac:graphicFrameMk id="13" creationId="{8F7D9A2A-940D-44AF-5259-B7C96479DC8F}"/>
          </ac:graphicFrameMkLst>
        </pc:graphicFrameChg>
      </pc:sldChg>
      <pc:sldChg chg="addSp delSp modSp add del mod">
        <pc:chgData name="Chamaria, Shridhar" userId="8333b265-e735-45f8-a921-ce459cc3483a" providerId="ADAL" clId="{312C8B4E-27B9-4D3B-AC86-A122E0E20E54}" dt="2025-05-28T06:36:01.377" v="300" actId="2696"/>
        <pc:sldMkLst>
          <pc:docMk/>
          <pc:sldMk cId="2724062385" sldId="2147483132"/>
        </pc:sldMkLst>
        <pc:spChg chg="mod">
          <ac:chgData name="Chamaria, Shridhar" userId="8333b265-e735-45f8-a921-ce459cc3483a" providerId="ADAL" clId="{312C8B4E-27B9-4D3B-AC86-A122E0E20E54}" dt="2025-05-28T06:30:40.652" v="2"/>
          <ac:spMkLst>
            <pc:docMk/>
            <pc:sldMk cId="2724062385" sldId="2147483132"/>
            <ac:spMk id="14" creationId="{00000000-0000-0000-0000-000000000000}"/>
          </ac:spMkLst>
        </pc:spChg>
        <pc:spChg chg="add del mod modVis">
          <ac:chgData name="Chamaria, Shridhar" userId="8333b265-e735-45f8-a921-ce459cc3483a" providerId="ADAL" clId="{312C8B4E-27B9-4D3B-AC86-A122E0E20E54}" dt="2025-05-28T06:31:31.171" v="33"/>
          <ac:spMkLst>
            <pc:docMk/>
            <pc:sldMk cId="2724062385" sldId="2147483132"/>
            <ac:spMk id="17" creationId="{DA3EBAAF-43B4-648D-9613-DE7DA59C5206}"/>
          </ac:spMkLst>
        </pc:spChg>
        <pc:spChg chg="mod">
          <ac:chgData name="Chamaria, Shridhar" userId="8333b265-e735-45f8-a921-ce459cc3483a" providerId="ADAL" clId="{312C8B4E-27B9-4D3B-AC86-A122E0E20E54}" dt="2025-05-28T06:31:31.914" v="39" actId="948"/>
          <ac:spMkLst>
            <pc:docMk/>
            <pc:sldMk cId="2724062385" sldId="2147483132"/>
            <ac:spMk id="2053" creationId="{D9695A72-7CE4-CFEB-C6BC-949206394A23}"/>
          </ac:spMkLst>
        </pc:spChg>
        <pc:graphicFrameChg chg="mod">
          <ac:chgData name="Chamaria, Shridhar" userId="8333b265-e735-45f8-a921-ce459cc3483a" providerId="ADAL" clId="{312C8B4E-27B9-4D3B-AC86-A122E0E20E54}" dt="2025-05-28T06:35:45.634" v="299"/>
          <ac:graphicFrameMkLst>
            <pc:docMk/>
            <pc:sldMk cId="2724062385" sldId="2147483132"/>
            <ac:graphicFrameMk id="27" creationId="{981B2DE0-6E5C-799F-0FBE-675A81D5A374}"/>
          </ac:graphicFrameMkLst>
        </pc:graphicFrameChg>
      </pc:sldChg>
      <pc:sldChg chg="addSp delSp modSp mod">
        <pc:chgData name="Chamaria, Shridhar" userId="8333b265-e735-45f8-a921-ce459cc3483a" providerId="ADAL" clId="{312C8B4E-27B9-4D3B-AC86-A122E0E20E54}" dt="2025-05-28T06:42:11.935" v="438"/>
        <pc:sldMkLst>
          <pc:docMk/>
          <pc:sldMk cId="1376857552" sldId="2147483598"/>
        </pc:sldMkLst>
        <pc:spChg chg="mod">
          <ac:chgData name="Chamaria, Shridhar" userId="8333b265-e735-45f8-a921-ce459cc3483a" providerId="ADAL" clId="{312C8B4E-27B9-4D3B-AC86-A122E0E20E54}" dt="2025-05-28T06:36:50.154" v="310" actId="948"/>
          <ac:spMkLst>
            <pc:docMk/>
            <pc:sldMk cId="1376857552" sldId="2147483598"/>
            <ac:spMk id="2" creationId="{0A1F8CFD-0A66-4405-8B57-6E234082F3A7}"/>
          </ac:spMkLst>
        </pc:spChg>
        <pc:spChg chg="add del mod modVis">
          <ac:chgData name="Chamaria, Shridhar" userId="8333b265-e735-45f8-a921-ce459cc3483a" providerId="ADAL" clId="{312C8B4E-27B9-4D3B-AC86-A122E0E20E54}" dt="2025-05-28T06:36:50.169" v="340"/>
          <ac:spMkLst>
            <pc:docMk/>
            <pc:sldMk cId="1376857552" sldId="2147483598"/>
            <ac:spMk id="3" creationId="{3BF22D8E-A57A-C869-3603-EC3A5EF43F23}"/>
          </ac:spMkLst>
        </pc:spChg>
        <pc:spChg chg="del">
          <ac:chgData name="Chamaria, Shridhar" userId="8333b265-e735-45f8-a921-ce459cc3483a" providerId="ADAL" clId="{312C8B4E-27B9-4D3B-AC86-A122E0E20E54}" dt="2025-05-28T06:36:58.310" v="343" actId="478"/>
          <ac:spMkLst>
            <pc:docMk/>
            <pc:sldMk cId="1376857552" sldId="2147483598"/>
            <ac:spMk id="4" creationId="{A1682C3A-AB65-C5A8-52C3-10934F182DD0}"/>
          </ac:spMkLst>
        </pc:spChg>
        <pc:spChg chg="mod">
          <ac:chgData name="Chamaria, Shridhar" userId="8333b265-e735-45f8-a921-ce459cc3483a" providerId="ADAL" clId="{312C8B4E-27B9-4D3B-AC86-A122E0E20E54}" dt="2025-05-28T06:42:11.935" v="438"/>
          <ac:spMkLst>
            <pc:docMk/>
            <pc:sldMk cId="1376857552" sldId="2147483598"/>
            <ac:spMk id="11" creationId="{8F6ADEF4-C7AA-4D95-890E-BA7A4E4FE309}"/>
          </ac:spMkLst>
        </pc:spChg>
        <pc:graphicFrameChg chg="mod modGraphic">
          <ac:chgData name="Chamaria, Shridhar" userId="8333b265-e735-45f8-a921-ce459cc3483a" providerId="ADAL" clId="{312C8B4E-27B9-4D3B-AC86-A122E0E20E54}" dt="2025-05-28T06:41:26.665" v="430" actId="255"/>
          <ac:graphicFrameMkLst>
            <pc:docMk/>
            <pc:sldMk cId="1376857552" sldId="2147483598"/>
            <ac:graphicFrameMk id="27" creationId="{0F43A30D-F12B-4292-BDC6-CD0B8E12D6FF}"/>
          </ac:graphicFrameMkLst>
        </pc:graphicFrameChg>
        <pc:graphicFrameChg chg="mod">
          <ac:chgData name="Chamaria, Shridhar" userId="8333b265-e735-45f8-a921-ce459cc3483a" providerId="ADAL" clId="{312C8B4E-27B9-4D3B-AC86-A122E0E20E54}" dt="2025-05-28T06:36:50.185" v="342"/>
          <ac:graphicFrameMkLst>
            <pc:docMk/>
            <pc:sldMk cId="1376857552" sldId="2147483598"/>
            <ac:graphicFrameMk id="1051" creationId="{070DDBEB-78FA-F19D-88F6-0140B8E4E7FB}"/>
          </ac:graphicFrameMkLst>
        </pc:graphicFrameChg>
        <pc:picChg chg="del">
          <ac:chgData name="Chamaria, Shridhar" userId="8333b265-e735-45f8-a921-ce459cc3483a" providerId="ADAL" clId="{312C8B4E-27B9-4D3B-AC86-A122E0E20E54}" dt="2025-05-28T06:40:28.345" v="399" actId="478"/>
          <ac:picMkLst>
            <pc:docMk/>
            <pc:sldMk cId="1376857552" sldId="2147483598"/>
            <ac:picMk id="5" creationId="{8A048E43-7298-369F-35A9-1BE42FD68E5D}"/>
          </ac:picMkLst>
        </pc:picChg>
        <pc:picChg chg="add del">
          <ac:chgData name="Chamaria, Shridhar" userId="8333b265-e735-45f8-a921-ce459cc3483a" providerId="ADAL" clId="{312C8B4E-27B9-4D3B-AC86-A122E0E20E54}" dt="2025-05-28T06:40:41.472" v="409" actId="478"/>
          <ac:picMkLst>
            <pc:docMk/>
            <pc:sldMk cId="1376857552" sldId="2147483598"/>
            <ac:picMk id="6" creationId="{38236E45-3FC1-BDE9-7C54-2D40A16A5E47}"/>
          </ac:picMkLst>
        </pc:picChg>
        <pc:picChg chg="del">
          <ac:chgData name="Chamaria, Shridhar" userId="8333b265-e735-45f8-a921-ce459cc3483a" providerId="ADAL" clId="{312C8B4E-27B9-4D3B-AC86-A122E0E20E54}" dt="2025-05-28T06:39:12.363" v="363" actId="478"/>
          <ac:picMkLst>
            <pc:docMk/>
            <pc:sldMk cId="1376857552" sldId="2147483598"/>
            <ac:picMk id="7" creationId="{F30C1FC5-009F-22E8-ED66-D0758FB97A31}"/>
          </ac:picMkLst>
        </pc:picChg>
        <pc:picChg chg="del mod">
          <ac:chgData name="Chamaria, Shridhar" userId="8333b265-e735-45f8-a921-ce459cc3483a" providerId="ADAL" clId="{312C8B4E-27B9-4D3B-AC86-A122E0E20E54}" dt="2025-05-28T06:40:48.554" v="415" actId="478"/>
          <ac:picMkLst>
            <pc:docMk/>
            <pc:sldMk cId="1376857552" sldId="2147483598"/>
            <ac:picMk id="8" creationId="{ADF58F4E-097F-9E46-1BAE-EFD873441BBD}"/>
          </ac:picMkLst>
        </pc:picChg>
        <pc:picChg chg="del">
          <ac:chgData name="Chamaria, Shridhar" userId="8333b265-e735-45f8-a921-ce459cc3483a" providerId="ADAL" clId="{312C8B4E-27B9-4D3B-AC86-A122E0E20E54}" dt="2025-05-28T06:40:21.215" v="394" actId="478"/>
          <ac:picMkLst>
            <pc:docMk/>
            <pc:sldMk cId="1376857552" sldId="2147483598"/>
            <ac:picMk id="9" creationId="{3F21F86B-BDA0-F72F-1A4A-89CDAAFB514E}"/>
          </ac:picMkLst>
        </pc:picChg>
        <pc:picChg chg="del">
          <ac:chgData name="Chamaria, Shridhar" userId="8333b265-e735-45f8-a921-ce459cc3483a" providerId="ADAL" clId="{312C8B4E-27B9-4D3B-AC86-A122E0E20E54}" dt="2025-05-28T06:40:05.332" v="389" actId="478"/>
          <ac:picMkLst>
            <pc:docMk/>
            <pc:sldMk cId="1376857552" sldId="2147483598"/>
            <ac:picMk id="10" creationId="{D95B64F9-A5DC-B890-01C8-7B439A3E27D2}"/>
          </ac:picMkLst>
        </pc:picChg>
        <pc:picChg chg="del">
          <ac:chgData name="Chamaria, Shridhar" userId="8333b265-e735-45f8-a921-ce459cc3483a" providerId="ADAL" clId="{312C8B4E-27B9-4D3B-AC86-A122E0E20E54}" dt="2025-05-28T06:40:55.184" v="420" actId="478"/>
          <ac:picMkLst>
            <pc:docMk/>
            <pc:sldMk cId="1376857552" sldId="2147483598"/>
            <ac:picMk id="12" creationId="{AFC613D9-5C64-93A9-4E85-B111279F866A}"/>
          </ac:picMkLst>
        </pc:picChg>
        <pc:picChg chg="add del">
          <ac:chgData name="Chamaria, Shridhar" userId="8333b265-e735-45f8-a921-ce459cc3483a" providerId="ADAL" clId="{312C8B4E-27B9-4D3B-AC86-A122E0E20E54}" dt="2025-05-28T06:39:55.277" v="380" actId="478"/>
          <ac:picMkLst>
            <pc:docMk/>
            <pc:sldMk cId="1376857552" sldId="2147483598"/>
            <ac:picMk id="15" creationId="{7F28348F-8C3B-78A0-69FE-4CA7533DE1B8}"/>
          </ac:picMkLst>
        </pc:picChg>
        <pc:picChg chg="del">
          <ac:chgData name="Chamaria, Shridhar" userId="8333b265-e735-45f8-a921-ce459cc3483a" providerId="ADAL" clId="{312C8B4E-27B9-4D3B-AC86-A122E0E20E54}" dt="2025-05-28T06:41:03.585" v="425" actId="478"/>
          <ac:picMkLst>
            <pc:docMk/>
            <pc:sldMk cId="1376857552" sldId="2147483598"/>
            <ac:picMk id="16" creationId="{B6E0955D-C3AE-56F1-96BD-201429318FE1}"/>
          </ac:picMkLst>
        </pc:picChg>
      </pc:sldChg>
      <pc:sldChg chg="addSp delSp modSp add mod">
        <pc:chgData name="Chamaria, Shridhar" userId="8333b265-e735-45f8-a921-ce459cc3483a" providerId="ADAL" clId="{312C8B4E-27B9-4D3B-AC86-A122E0E20E54}" dt="2025-05-28T06:36:28.320" v="303"/>
        <pc:sldMkLst>
          <pc:docMk/>
          <pc:sldMk cId="798690137" sldId="2147483599"/>
        </pc:sldMkLst>
        <pc:spChg chg="mod ord">
          <ac:chgData name="Chamaria, Shridhar" userId="8333b265-e735-45f8-a921-ce459cc3483a" providerId="ADAL" clId="{312C8B4E-27B9-4D3B-AC86-A122E0E20E54}" dt="2025-05-28T06:32:58.111" v="253"/>
          <ac:spMkLst>
            <pc:docMk/>
            <pc:sldMk cId="798690137" sldId="2147483599"/>
            <ac:spMk id="2" creationId="{1654E536-34F8-E0B3-A34D-A9948201BAE6}"/>
          </ac:spMkLst>
        </pc:spChg>
        <pc:spChg chg="mod ord">
          <ac:chgData name="Chamaria, Shridhar" userId="8333b265-e735-45f8-a921-ce459cc3483a" providerId="ADAL" clId="{312C8B4E-27B9-4D3B-AC86-A122E0E20E54}" dt="2025-05-28T06:32:58.111" v="245"/>
          <ac:spMkLst>
            <pc:docMk/>
            <pc:sldMk cId="798690137" sldId="2147483599"/>
            <ac:spMk id="3" creationId="{00000000-0000-0000-0000-000000000000}"/>
          </ac:spMkLst>
        </pc:spChg>
        <pc:spChg chg="mod ord">
          <ac:chgData name="Chamaria, Shridhar" userId="8333b265-e735-45f8-a921-ce459cc3483a" providerId="ADAL" clId="{312C8B4E-27B9-4D3B-AC86-A122E0E20E54}" dt="2025-05-28T06:32:58.111" v="255"/>
          <ac:spMkLst>
            <pc:docMk/>
            <pc:sldMk cId="798690137" sldId="2147483599"/>
            <ac:spMk id="4" creationId="{863732D3-0E69-18CB-2480-DEA5CF9B53A4}"/>
          </ac:spMkLst>
        </pc:spChg>
        <pc:spChg chg="mod ord">
          <ac:chgData name="Chamaria, Shridhar" userId="8333b265-e735-45f8-a921-ce459cc3483a" providerId="ADAL" clId="{312C8B4E-27B9-4D3B-AC86-A122E0E20E54}" dt="2025-05-28T06:32:58.111" v="249"/>
          <ac:spMkLst>
            <pc:docMk/>
            <pc:sldMk cId="798690137" sldId="2147483599"/>
            <ac:spMk id="7" creationId="{00000000-0000-0000-0000-000000000000}"/>
          </ac:spMkLst>
        </pc:spChg>
        <pc:spChg chg="add del mod">
          <ac:chgData name="Chamaria, Shridhar" userId="8333b265-e735-45f8-a921-ce459cc3483a" providerId="ADAL" clId="{312C8B4E-27B9-4D3B-AC86-A122E0E20E54}" dt="2025-05-28T06:36:28.320" v="303"/>
          <ac:spMkLst>
            <pc:docMk/>
            <pc:sldMk cId="798690137" sldId="2147483599"/>
            <ac:spMk id="14" creationId="{00000000-0000-0000-0000-000000000000}"/>
          </ac:spMkLst>
        </pc:spChg>
        <pc:spChg chg="add del mod modVis">
          <ac:chgData name="Chamaria, Shridhar" userId="8333b265-e735-45f8-a921-ce459cc3483a" providerId="ADAL" clId="{312C8B4E-27B9-4D3B-AC86-A122E0E20E54}" dt="2025-05-28T06:32:45.772" v="121"/>
          <ac:spMkLst>
            <pc:docMk/>
            <pc:sldMk cId="798690137" sldId="2147483599"/>
            <ac:spMk id="17" creationId="{2E401056-0247-2E44-CBFA-E8FC274278C2}"/>
          </ac:spMkLst>
        </pc:spChg>
        <pc:spChg chg="mod ord">
          <ac:chgData name="Chamaria, Shridhar" userId="8333b265-e735-45f8-a921-ce459cc3483a" providerId="ADAL" clId="{312C8B4E-27B9-4D3B-AC86-A122E0E20E54}" dt="2025-05-28T06:32:58.111" v="257"/>
          <ac:spMkLst>
            <pc:docMk/>
            <pc:sldMk cId="798690137" sldId="2147483599"/>
            <ac:spMk id="18" creationId="{AF26F7F9-FF6D-B213-53E0-F34D5CF2E403}"/>
          </ac:spMkLst>
        </pc:spChg>
        <pc:spChg chg="mod ord">
          <ac:chgData name="Chamaria, Shridhar" userId="8333b265-e735-45f8-a921-ce459cc3483a" providerId="ADAL" clId="{312C8B4E-27B9-4D3B-AC86-A122E0E20E54}" dt="2025-05-28T06:32:58.096" v="221"/>
          <ac:spMkLst>
            <pc:docMk/>
            <pc:sldMk cId="798690137" sldId="2147483599"/>
            <ac:spMk id="19" creationId="{39A50F66-7DAD-C2D2-8118-6A03926BD048}"/>
          </ac:spMkLst>
        </pc:spChg>
        <pc:spChg chg="mod ord">
          <ac:chgData name="Chamaria, Shridhar" userId="8333b265-e735-45f8-a921-ce459cc3483a" providerId="ADAL" clId="{312C8B4E-27B9-4D3B-AC86-A122E0E20E54}" dt="2025-05-28T06:32:58.096" v="223"/>
          <ac:spMkLst>
            <pc:docMk/>
            <pc:sldMk cId="798690137" sldId="2147483599"/>
            <ac:spMk id="20" creationId="{4C6A50D5-A203-82C1-E7C0-E486EE49F087}"/>
          </ac:spMkLst>
        </pc:spChg>
        <pc:spChg chg="mod ord">
          <ac:chgData name="Chamaria, Shridhar" userId="8333b265-e735-45f8-a921-ce459cc3483a" providerId="ADAL" clId="{312C8B4E-27B9-4D3B-AC86-A122E0E20E54}" dt="2025-05-28T06:32:58.096" v="225"/>
          <ac:spMkLst>
            <pc:docMk/>
            <pc:sldMk cId="798690137" sldId="2147483599"/>
            <ac:spMk id="21" creationId="{EAFAA49E-B1DA-A325-1B4A-8CF4F69F60E3}"/>
          </ac:spMkLst>
        </pc:spChg>
        <pc:spChg chg="mod ord">
          <ac:chgData name="Chamaria, Shridhar" userId="8333b265-e735-45f8-a921-ce459cc3483a" providerId="ADAL" clId="{312C8B4E-27B9-4D3B-AC86-A122E0E20E54}" dt="2025-05-28T06:32:58.096" v="227"/>
          <ac:spMkLst>
            <pc:docMk/>
            <pc:sldMk cId="798690137" sldId="2147483599"/>
            <ac:spMk id="22" creationId="{ED0F22E8-53F6-9C87-8948-618B3EEB3F6F}"/>
          </ac:spMkLst>
        </pc:spChg>
        <pc:spChg chg="mod ord">
          <ac:chgData name="Chamaria, Shridhar" userId="8333b265-e735-45f8-a921-ce459cc3483a" providerId="ADAL" clId="{312C8B4E-27B9-4D3B-AC86-A122E0E20E54}" dt="2025-05-28T06:32:58.096" v="229"/>
          <ac:spMkLst>
            <pc:docMk/>
            <pc:sldMk cId="798690137" sldId="2147483599"/>
            <ac:spMk id="25" creationId="{FCB2058A-04F5-079A-A9E4-A66E1A8EE7BC}"/>
          </ac:spMkLst>
        </pc:spChg>
        <pc:spChg chg="mod ord">
          <ac:chgData name="Chamaria, Shridhar" userId="8333b265-e735-45f8-a921-ce459cc3483a" providerId="ADAL" clId="{312C8B4E-27B9-4D3B-AC86-A122E0E20E54}" dt="2025-05-28T06:32:58.111" v="247"/>
          <ac:spMkLst>
            <pc:docMk/>
            <pc:sldMk cId="798690137" sldId="2147483599"/>
            <ac:spMk id="26" creationId="{00000000-0000-0000-0000-000000000000}"/>
          </ac:spMkLst>
        </pc:spChg>
        <pc:spChg chg="add mod">
          <ac:chgData name="Chamaria, Shridhar" userId="8333b265-e735-45f8-a921-ce459cc3483a" providerId="ADAL" clId="{312C8B4E-27B9-4D3B-AC86-A122E0E20E54}" dt="2025-05-28T06:33:08.533" v="265"/>
          <ac:spMkLst>
            <pc:docMk/>
            <pc:sldMk cId="798690137" sldId="2147483599"/>
            <ac:spMk id="28" creationId="{5E312042-53BA-1D24-159F-F9BE0ACCAD97}"/>
          </ac:spMkLst>
        </pc:spChg>
        <pc:spChg chg="mod ord">
          <ac:chgData name="Chamaria, Shridhar" userId="8333b265-e735-45f8-a921-ce459cc3483a" providerId="ADAL" clId="{312C8B4E-27B9-4D3B-AC86-A122E0E20E54}" dt="2025-05-28T06:32:58.111" v="231"/>
          <ac:spMkLst>
            <pc:docMk/>
            <pc:sldMk cId="798690137" sldId="2147483599"/>
            <ac:spMk id="38" creationId="{A327B346-F3A6-C1B7-BA58-4608DEFBA46E}"/>
          </ac:spMkLst>
        </pc:spChg>
        <pc:spChg chg="del mod ord">
          <ac:chgData name="Chamaria, Shridhar" userId="8333b265-e735-45f8-a921-ce459cc3483a" providerId="ADAL" clId="{312C8B4E-27B9-4D3B-AC86-A122E0E20E54}" dt="2025-05-28T06:32:55.939" v="219" actId="478"/>
          <ac:spMkLst>
            <pc:docMk/>
            <pc:sldMk cId="798690137" sldId="2147483599"/>
            <ac:spMk id="40" creationId="{5E478C60-D148-7721-DF94-6EBA28FF1353}"/>
          </ac:spMkLst>
        </pc:spChg>
        <pc:spChg chg="mod ord">
          <ac:chgData name="Chamaria, Shridhar" userId="8333b265-e735-45f8-a921-ce459cc3483a" providerId="ADAL" clId="{312C8B4E-27B9-4D3B-AC86-A122E0E20E54}" dt="2025-05-28T06:32:58.111" v="233"/>
          <ac:spMkLst>
            <pc:docMk/>
            <pc:sldMk cId="798690137" sldId="2147483599"/>
            <ac:spMk id="41" creationId="{58A0B6B9-5AED-211E-F1C1-98BEC5C5AD69}"/>
          </ac:spMkLst>
        </pc:spChg>
        <pc:spChg chg="mod ord">
          <ac:chgData name="Chamaria, Shridhar" userId="8333b265-e735-45f8-a921-ce459cc3483a" providerId="ADAL" clId="{312C8B4E-27B9-4D3B-AC86-A122E0E20E54}" dt="2025-05-28T06:32:58.111" v="259"/>
          <ac:spMkLst>
            <pc:docMk/>
            <pc:sldMk cId="798690137" sldId="2147483599"/>
            <ac:spMk id="42" creationId="{EBAF208B-A27E-25C2-EEB9-840A8AF135AC}"/>
          </ac:spMkLst>
        </pc:spChg>
        <pc:spChg chg="mod ord">
          <ac:chgData name="Chamaria, Shridhar" userId="8333b265-e735-45f8-a921-ce459cc3483a" providerId="ADAL" clId="{312C8B4E-27B9-4D3B-AC86-A122E0E20E54}" dt="2025-05-28T06:32:58.111" v="235"/>
          <ac:spMkLst>
            <pc:docMk/>
            <pc:sldMk cId="798690137" sldId="2147483599"/>
            <ac:spMk id="43" creationId="{2D2A34A1-FD9D-F7D1-9447-492C054D23ED}"/>
          </ac:spMkLst>
        </pc:spChg>
        <pc:spChg chg="mod ord">
          <ac:chgData name="Chamaria, Shridhar" userId="8333b265-e735-45f8-a921-ce459cc3483a" providerId="ADAL" clId="{312C8B4E-27B9-4D3B-AC86-A122E0E20E54}" dt="2025-05-28T06:32:58.111" v="237"/>
          <ac:spMkLst>
            <pc:docMk/>
            <pc:sldMk cId="798690137" sldId="2147483599"/>
            <ac:spMk id="44" creationId="{F1F5C516-4FE6-BBE5-B2BA-A2BE7857BAD9}"/>
          </ac:spMkLst>
        </pc:spChg>
        <pc:spChg chg="mod ord">
          <ac:chgData name="Chamaria, Shridhar" userId="8333b265-e735-45f8-a921-ce459cc3483a" providerId="ADAL" clId="{312C8B4E-27B9-4D3B-AC86-A122E0E20E54}" dt="2025-05-28T06:32:58.111" v="239"/>
          <ac:spMkLst>
            <pc:docMk/>
            <pc:sldMk cId="798690137" sldId="2147483599"/>
            <ac:spMk id="45" creationId="{A8B6A350-D875-91A9-0270-BB73766B3F18}"/>
          </ac:spMkLst>
        </pc:spChg>
        <pc:spChg chg="add del">
          <ac:chgData name="Chamaria, Shridhar" userId="8333b265-e735-45f8-a921-ce459cc3483a" providerId="ADAL" clId="{312C8B4E-27B9-4D3B-AC86-A122E0E20E54}" dt="2025-05-28T06:32:39.293" v="45" actId="478"/>
          <ac:spMkLst>
            <pc:docMk/>
            <pc:sldMk cId="798690137" sldId="2147483599"/>
            <ac:spMk id="47" creationId="{48EADFCE-A82F-7BF9-373A-E4691770D221}"/>
          </ac:spMkLst>
        </pc:spChg>
        <pc:spChg chg="mod ord">
          <ac:chgData name="Chamaria, Shridhar" userId="8333b265-e735-45f8-a921-ce459cc3483a" providerId="ADAL" clId="{312C8B4E-27B9-4D3B-AC86-A122E0E20E54}" dt="2025-05-28T06:33:22.539" v="275" actId="948"/>
          <ac:spMkLst>
            <pc:docMk/>
            <pc:sldMk cId="798690137" sldId="2147483599"/>
            <ac:spMk id="2053" creationId="{D9695A72-7CE4-CFEB-C6BC-949206394A23}"/>
          </ac:spMkLst>
        </pc:spChg>
        <pc:grpChg chg="mod">
          <ac:chgData name="Chamaria, Shridhar" userId="8333b265-e735-45f8-a921-ce459cc3483a" providerId="ADAL" clId="{312C8B4E-27B9-4D3B-AC86-A122E0E20E54}" dt="2025-05-28T06:32:58.111" v="243"/>
          <ac:grpSpMkLst>
            <pc:docMk/>
            <pc:sldMk cId="798690137" sldId="2147483599"/>
            <ac:grpSpMk id="15" creationId="{9A8A4A03-1B64-97D4-B3EF-342D0A78077F}"/>
          </ac:grpSpMkLst>
        </pc:grpChg>
        <pc:grpChg chg="mod">
          <ac:chgData name="Chamaria, Shridhar" userId="8333b265-e735-45f8-a921-ce459cc3483a" providerId="ADAL" clId="{312C8B4E-27B9-4D3B-AC86-A122E0E20E54}" dt="2025-05-28T06:32:58.111" v="242"/>
          <ac:grpSpMkLst>
            <pc:docMk/>
            <pc:sldMk cId="798690137" sldId="2147483599"/>
            <ac:grpSpMk id="16" creationId="{54B0EF12-6027-9ED0-08A9-FADE4038E55D}"/>
          </ac:grpSpMkLst>
        </pc:grpChg>
        <pc:grpChg chg="mod ord">
          <ac:chgData name="Chamaria, Shridhar" userId="8333b265-e735-45f8-a921-ce459cc3483a" providerId="ADAL" clId="{312C8B4E-27B9-4D3B-AC86-A122E0E20E54}" dt="2025-05-28T06:32:58.111" v="241"/>
          <ac:grpSpMkLst>
            <pc:docMk/>
            <pc:sldMk cId="798690137" sldId="2147483599"/>
            <ac:grpSpMk id="31" creationId="{C793C86F-8E19-C200-3F55-14B4BF33CAD0}"/>
          </ac:grpSpMkLst>
        </pc:grpChg>
        <pc:graphicFrameChg chg="mod">
          <ac:chgData name="Chamaria, Shridhar" userId="8333b265-e735-45f8-a921-ce459cc3483a" providerId="ADAL" clId="{312C8B4E-27B9-4D3B-AC86-A122E0E20E54}" dt="2025-05-28T06:33:22.539" v="277"/>
          <ac:graphicFrameMkLst>
            <pc:docMk/>
            <pc:sldMk cId="798690137" sldId="2147483599"/>
            <ac:graphicFrameMk id="27" creationId="{981B2DE0-6E5C-799F-0FBE-675A81D5A374}"/>
          </ac:graphicFrameMkLst>
        </pc:graphicFrameChg>
        <pc:picChg chg="add del">
          <ac:chgData name="Chamaria, Shridhar" userId="8333b265-e735-45f8-a921-ce459cc3483a" providerId="ADAL" clId="{312C8B4E-27B9-4D3B-AC86-A122E0E20E54}" dt="2025-05-28T06:32:39.293" v="45" actId="478"/>
          <ac:picMkLst>
            <pc:docMk/>
            <pc:sldMk cId="798690137" sldId="2147483599"/>
            <ac:picMk id="48" creationId="{BCB6E573-8006-744C-195D-6F4DF8EAA7D2}"/>
          </ac:picMkLst>
        </pc:picChg>
        <pc:picChg chg="add del">
          <ac:chgData name="Chamaria, Shridhar" userId="8333b265-e735-45f8-a921-ce459cc3483a" providerId="ADAL" clId="{312C8B4E-27B9-4D3B-AC86-A122E0E20E54}" dt="2025-05-28T06:32:39.293" v="45" actId="478"/>
          <ac:picMkLst>
            <pc:docMk/>
            <pc:sldMk cId="798690137" sldId="2147483599"/>
            <ac:picMk id="49" creationId="{E8F11F0B-1E81-B88E-5E48-C04A14B184FA}"/>
          </ac:picMkLst>
        </pc:picChg>
        <pc:picChg chg="add del">
          <ac:chgData name="Chamaria, Shridhar" userId="8333b265-e735-45f8-a921-ce459cc3483a" providerId="ADAL" clId="{312C8B4E-27B9-4D3B-AC86-A122E0E20E54}" dt="2025-05-28T06:32:39.293" v="45" actId="478"/>
          <ac:picMkLst>
            <pc:docMk/>
            <pc:sldMk cId="798690137" sldId="2147483599"/>
            <ac:picMk id="50" creationId="{ADAF171E-14CE-267F-489B-55C3BCAE680A}"/>
          </ac:picMkLst>
        </pc:picChg>
        <pc:picChg chg="add del">
          <ac:chgData name="Chamaria, Shridhar" userId="8333b265-e735-45f8-a921-ce459cc3483a" providerId="ADAL" clId="{312C8B4E-27B9-4D3B-AC86-A122E0E20E54}" dt="2025-05-28T06:32:39.293" v="45" actId="478"/>
          <ac:picMkLst>
            <pc:docMk/>
            <pc:sldMk cId="798690137" sldId="2147483599"/>
            <ac:picMk id="51" creationId="{C7FF9E65-EFB2-B1AC-75E0-ACF316AA4AD2}"/>
          </ac:picMkLst>
        </pc:picChg>
        <pc:picChg chg="add del">
          <ac:chgData name="Chamaria, Shridhar" userId="8333b265-e735-45f8-a921-ce459cc3483a" providerId="ADAL" clId="{312C8B4E-27B9-4D3B-AC86-A122E0E20E54}" dt="2025-05-28T06:32:39.293" v="45" actId="478"/>
          <ac:picMkLst>
            <pc:docMk/>
            <pc:sldMk cId="798690137" sldId="2147483599"/>
            <ac:picMk id="52" creationId="{48A00AB2-9472-2955-6662-E426D9696C0B}"/>
          </ac:picMkLst>
        </pc:picChg>
        <pc:picChg chg="add del">
          <ac:chgData name="Chamaria, Shridhar" userId="8333b265-e735-45f8-a921-ce459cc3483a" providerId="ADAL" clId="{312C8B4E-27B9-4D3B-AC86-A122E0E20E54}" dt="2025-05-28T06:32:39.293" v="45" actId="478"/>
          <ac:picMkLst>
            <pc:docMk/>
            <pc:sldMk cId="798690137" sldId="2147483599"/>
            <ac:picMk id="53" creationId="{B6427C35-0874-0066-6A60-D085316AF425}"/>
          </ac:picMkLst>
        </pc:picChg>
        <pc:picChg chg="add del">
          <ac:chgData name="Chamaria, Shridhar" userId="8333b265-e735-45f8-a921-ce459cc3483a" providerId="ADAL" clId="{312C8B4E-27B9-4D3B-AC86-A122E0E20E54}" dt="2025-05-28T06:32:39.293" v="45" actId="478"/>
          <ac:picMkLst>
            <pc:docMk/>
            <pc:sldMk cId="798690137" sldId="2147483599"/>
            <ac:picMk id="54" creationId="{3ED7FA89-E428-F89A-18DE-33053102C078}"/>
          </ac:picMkLst>
        </pc:picChg>
        <pc:picChg chg="add del">
          <ac:chgData name="Chamaria, Shridhar" userId="8333b265-e735-45f8-a921-ce459cc3483a" providerId="ADAL" clId="{312C8B4E-27B9-4D3B-AC86-A122E0E20E54}" dt="2025-05-28T06:32:39.293" v="45" actId="478"/>
          <ac:picMkLst>
            <pc:docMk/>
            <pc:sldMk cId="798690137" sldId="2147483599"/>
            <ac:picMk id="55" creationId="{6CBBF55D-C53A-04FB-FA80-9F43D077CAEA}"/>
          </ac:picMkLst>
        </pc:picChg>
        <pc:picChg chg="del mod ord">
          <ac:chgData name="Chamaria, Shridhar" userId="8333b265-e735-45f8-a921-ce459cc3483a" providerId="ADAL" clId="{312C8B4E-27B9-4D3B-AC86-A122E0E20E54}" dt="2025-05-28T06:32:47.273" v="124" actId="478"/>
          <ac:picMkLst>
            <pc:docMk/>
            <pc:sldMk cId="798690137" sldId="2147483599"/>
            <ac:picMk id="56" creationId="{EECC3AF3-4C6F-CB83-6456-30ED09C28822}"/>
          </ac:picMkLst>
        </pc:picChg>
        <pc:picChg chg="mod ord">
          <ac:chgData name="Chamaria, Shridhar" userId="8333b265-e735-45f8-a921-ce459cc3483a" providerId="ADAL" clId="{312C8B4E-27B9-4D3B-AC86-A122E0E20E54}" dt="2025-05-28T06:32:58.111" v="261"/>
          <ac:picMkLst>
            <pc:docMk/>
            <pc:sldMk cId="798690137" sldId="2147483599"/>
            <ac:picMk id="61" creationId="{DB5BD560-D551-8B2C-7CF7-5328AD73FE67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5B498E-4C83-4DC3-9A00-7FC74F9F5D6C}" type="datetimeFigureOut">
              <a:rPr lang="en-US" smtClean="0"/>
              <a:t>5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BA6E28-55C1-42B2-A996-3EFCBA07F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6902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D9652-1AAB-4CA5-B4C4-7FA575B39BF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39094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23A2EC08-AF2C-44E8-80A1-5FE7B6614C9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50103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5D223C-65FC-44A6-ACAC-3A56C0B992D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0106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669D9652-1AAB-4CA5-B4C4-7FA575B39BF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16627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988387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2225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61377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95537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42911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21750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724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54825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3.xml"/><Relationship Id="rId5" Type="http://schemas.openxmlformats.org/officeDocument/2006/relationships/theme" Target="../theme/theme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Web-traffic and search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6245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208">
          <p15:clr>
            <a:srgbClr val="CCCCCC"/>
          </p15:clr>
        </p15:guide>
        <p15:guide id="9" pos="7472">
          <p15:clr>
            <a:srgbClr val="CCCCCC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</a:rPr>
              <a:t>240913_Project Target_ ... _BCNv1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4283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208">
          <p15:clr>
            <a:srgbClr val="CCCCCC"/>
          </p15:clr>
        </p15:guide>
        <p15:guide id="9" pos="7472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8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6.emf"/><Relationship Id="rId5" Type="http://schemas.openxmlformats.org/officeDocument/2006/relationships/tags" Target="../tags/tag10.xml"/><Relationship Id="rId10" Type="http://schemas.openxmlformats.org/officeDocument/2006/relationships/image" Target="../media/image5.png"/><Relationship Id="rId4" Type="http://schemas.openxmlformats.org/officeDocument/2006/relationships/tags" Target="../tags/tag9.xml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8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7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image" Target="../media/image1.emf"/><Relationship Id="rId5" Type="http://schemas.openxmlformats.org/officeDocument/2006/relationships/tags" Target="../tags/tag15.xml"/><Relationship Id="rId10" Type="http://schemas.openxmlformats.org/officeDocument/2006/relationships/oleObject" Target="../embeddings/oleObject5.bin"/><Relationship Id="rId4" Type="http://schemas.openxmlformats.org/officeDocument/2006/relationships/tags" Target="../tags/tag14.xml"/><Relationship Id="rId9" Type="http://schemas.openxmlformats.org/officeDocument/2006/relationships/notesSlide" Target="../notesSlides/notesSlide2.xml"/><Relationship Id="rId1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9.emf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oleObject" Target="../embeddings/oleObject6.bin"/><Relationship Id="rId2" Type="http://schemas.openxmlformats.org/officeDocument/2006/relationships/tags" Target="../tags/tag19.xml"/><Relationship Id="rId16" Type="http://schemas.openxmlformats.org/officeDocument/2006/relationships/image" Target="../media/image5.png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22.xml"/><Relationship Id="rId15" Type="http://schemas.openxmlformats.org/officeDocument/2006/relationships/image" Target="../media/image11.emf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tags" Target="../tags/tag52.xml"/><Relationship Id="rId39" Type="http://schemas.openxmlformats.org/officeDocument/2006/relationships/notesSlide" Target="../notesSlides/notesSlide4.xml"/><Relationship Id="rId21" Type="http://schemas.openxmlformats.org/officeDocument/2006/relationships/tags" Target="../tags/tag47.xml"/><Relationship Id="rId34" Type="http://schemas.openxmlformats.org/officeDocument/2006/relationships/tags" Target="../tags/tag60.xml"/><Relationship Id="rId42" Type="http://schemas.openxmlformats.org/officeDocument/2006/relationships/image" Target="../media/image12.emf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29" Type="http://schemas.openxmlformats.org/officeDocument/2006/relationships/tags" Target="../tags/tag55.xml"/><Relationship Id="rId41" Type="http://schemas.openxmlformats.org/officeDocument/2006/relationships/image" Target="../media/image1.emf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tags" Target="../tags/tag50.xml"/><Relationship Id="rId32" Type="http://schemas.openxmlformats.org/officeDocument/2006/relationships/tags" Target="../tags/tag58.xml"/><Relationship Id="rId37" Type="http://schemas.openxmlformats.org/officeDocument/2006/relationships/tags" Target="../tags/tag63.xml"/><Relationship Id="rId40" Type="http://schemas.openxmlformats.org/officeDocument/2006/relationships/oleObject" Target="../embeddings/oleObject7.bin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28" Type="http://schemas.openxmlformats.org/officeDocument/2006/relationships/tags" Target="../tags/tag54.xml"/><Relationship Id="rId36" Type="http://schemas.openxmlformats.org/officeDocument/2006/relationships/tags" Target="../tags/tag62.xml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31" Type="http://schemas.openxmlformats.org/officeDocument/2006/relationships/tags" Target="../tags/tag57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tags" Target="../tags/tag48.xml"/><Relationship Id="rId27" Type="http://schemas.openxmlformats.org/officeDocument/2006/relationships/tags" Target="../tags/tag53.xml"/><Relationship Id="rId30" Type="http://schemas.openxmlformats.org/officeDocument/2006/relationships/tags" Target="../tags/tag56.xml"/><Relationship Id="rId35" Type="http://schemas.openxmlformats.org/officeDocument/2006/relationships/tags" Target="../tags/tag61.xml"/><Relationship Id="rId43" Type="http://schemas.openxmlformats.org/officeDocument/2006/relationships/image" Target="../media/image5.png"/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tags" Target="../tags/tag51.xml"/><Relationship Id="rId33" Type="http://schemas.openxmlformats.org/officeDocument/2006/relationships/tags" Target="../tags/tag59.xml"/><Relationship Id="rId38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20B36EA-A7FC-DE1C-B24A-EF2BF6BE69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8703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0B36EA-A7FC-DE1C-B24A-EF2BF6BE69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6" name="btfpColumnIndicatorGroup2">
            <a:extLst>
              <a:ext uri="{FF2B5EF4-FFF2-40B4-BE49-F238E27FC236}">
                <a16:creationId xmlns:a16="http://schemas.microsoft.com/office/drawing/2014/main" id="{6737429C-6A80-42DD-A9C5-605DAAC7BBC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" name="btfpColumnGapBlocker907226">
              <a:extLst>
                <a:ext uri="{FF2B5EF4-FFF2-40B4-BE49-F238E27FC236}">
                  <a16:creationId xmlns:a16="http://schemas.microsoft.com/office/drawing/2014/main" id="{86365CDB-AF92-4FB0-AC20-2E7EC5D4445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btfpColumnGapBlocker625519">
              <a:extLst>
                <a:ext uri="{FF2B5EF4-FFF2-40B4-BE49-F238E27FC236}">
                  <a16:creationId xmlns:a16="http://schemas.microsoft.com/office/drawing/2014/main" id="{64B596F3-43E7-4357-9232-FD3A9F2D37E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4" name="btfpColumnIndicator628445">
              <a:extLst>
                <a:ext uri="{FF2B5EF4-FFF2-40B4-BE49-F238E27FC236}">
                  <a16:creationId xmlns:a16="http://schemas.microsoft.com/office/drawing/2014/main" id="{58292CE5-FBBF-46E7-99AC-169E87D22A7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165372">
              <a:extLst>
                <a:ext uri="{FF2B5EF4-FFF2-40B4-BE49-F238E27FC236}">
                  <a16:creationId xmlns:a16="http://schemas.microsoft.com/office/drawing/2014/main" id="{EFBE867E-DA49-4571-9FC7-9D81D316390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btfpColumnIndicatorGroup1">
            <a:extLst>
              <a:ext uri="{FF2B5EF4-FFF2-40B4-BE49-F238E27FC236}">
                <a16:creationId xmlns:a16="http://schemas.microsoft.com/office/drawing/2014/main" id="{8708164D-489D-4299-BEF3-C0994B2DBBE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7" name="btfpColumnGapBlocker413041">
              <a:extLst>
                <a:ext uri="{FF2B5EF4-FFF2-40B4-BE49-F238E27FC236}">
                  <a16:creationId xmlns:a16="http://schemas.microsoft.com/office/drawing/2014/main" id="{D9F784DE-D744-43D5-A6ED-8B32EA346E7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btfpColumnGapBlocker360682">
              <a:extLst>
                <a:ext uri="{FF2B5EF4-FFF2-40B4-BE49-F238E27FC236}">
                  <a16:creationId xmlns:a16="http://schemas.microsoft.com/office/drawing/2014/main" id="{570CD6EE-EDD2-41A9-BBF8-DD90FC18BB0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3" name="btfpColumnIndicator540776">
              <a:extLst>
                <a:ext uri="{FF2B5EF4-FFF2-40B4-BE49-F238E27FC236}">
                  <a16:creationId xmlns:a16="http://schemas.microsoft.com/office/drawing/2014/main" id="{DCF19698-6A1A-45BC-A6FD-2AD7454E1F6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577492">
              <a:extLst>
                <a:ext uri="{FF2B5EF4-FFF2-40B4-BE49-F238E27FC236}">
                  <a16:creationId xmlns:a16="http://schemas.microsoft.com/office/drawing/2014/main" id="{7FC36FA1-2E48-44D0-AD32-CD95CBB2D02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FBD7D053-33B8-42F5-A1D9-DB27B4FBC2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Digital Deck 2 – Consumer Sentiment</a:t>
            </a:r>
          </a:p>
        </p:txBody>
      </p:sp>
      <p:sp>
        <p:nvSpPr>
          <p:cNvPr id="18" name="AutoShape 16">
            <a:extLst>
              <a:ext uri="{FF2B5EF4-FFF2-40B4-BE49-F238E27FC236}">
                <a16:creationId xmlns:a16="http://schemas.microsoft.com/office/drawing/2014/main" id="{3FCACF1B-91E4-431B-A1A2-99BC5D3DA9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79932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hink-cell data - do not delete" hidden="1">
            <a:extLst>
              <a:ext uri="{FF2B5EF4-FFF2-40B4-BE49-F238E27FC236}">
                <a16:creationId xmlns:a16="http://schemas.microsoft.com/office/drawing/2014/main" id="{981B2DE0-6E5C-799F-0FBE-675A81D5A3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979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04" imgH="405" progId="TCLayout.ActiveDocument.1">
                  <p:embed/>
                </p:oleObj>
              </mc:Choice>
              <mc:Fallback>
                <p:oleObj name="think-cell Slide" r:id="rId8" imgW="404" imgH="405" progId="TCLayout.ActiveDocument.1">
                  <p:embed/>
                  <p:pic>
                    <p:nvPicPr>
                      <p:cNvPr id="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1B2DE0-6E5C-799F-0FBE-675A81D5A3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39A50F66-7DAD-C2D2-8118-6A03926BD048}"/>
              </a:ext>
            </a:extLst>
          </p:cNvPr>
          <p:cNvSpPr/>
          <p:nvPr/>
        </p:nvSpPr>
        <p:spPr bwMode="gray">
          <a:xfrm>
            <a:off x="1453662" y="5806831"/>
            <a:ext cx="359507" cy="27900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C6A50D5-A203-82C1-E7C0-E486EE49F087}"/>
              </a:ext>
            </a:extLst>
          </p:cNvPr>
          <p:cNvSpPr/>
          <p:nvPr/>
        </p:nvSpPr>
        <p:spPr bwMode="gray">
          <a:xfrm>
            <a:off x="2397722" y="5806831"/>
            <a:ext cx="359507" cy="27900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FAA49E-B1DA-A325-1B4A-8CF4F69F60E3}"/>
              </a:ext>
            </a:extLst>
          </p:cNvPr>
          <p:cNvSpPr/>
          <p:nvPr/>
        </p:nvSpPr>
        <p:spPr bwMode="gray">
          <a:xfrm>
            <a:off x="3351199" y="5806831"/>
            <a:ext cx="359507" cy="279007"/>
          </a:xfrm>
          <a:prstGeom prst="rect">
            <a:avLst/>
          </a:prstGeom>
          <a:solidFill>
            <a:srgbClr val="FAEEC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D0F22E8-53F6-9C87-8948-618B3EEB3F6F}"/>
              </a:ext>
            </a:extLst>
          </p:cNvPr>
          <p:cNvSpPr/>
          <p:nvPr/>
        </p:nvSpPr>
        <p:spPr bwMode="gray">
          <a:xfrm>
            <a:off x="4277416" y="5806831"/>
            <a:ext cx="359507" cy="279007"/>
          </a:xfrm>
          <a:prstGeom prst="rect">
            <a:avLst/>
          </a:prstGeom>
          <a:solidFill>
            <a:srgbClr val="FAEEC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CB2058A-04F5-079A-A9E4-A66E1A8EE7BC}"/>
              </a:ext>
            </a:extLst>
          </p:cNvPr>
          <p:cNvSpPr/>
          <p:nvPr/>
        </p:nvSpPr>
        <p:spPr bwMode="gray">
          <a:xfrm>
            <a:off x="5203633" y="5806831"/>
            <a:ext cx="359507" cy="279007"/>
          </a:xfrm>
          <a:prstGeom prst="rect">
            <a:avLst/>
          </a:prstGeom>
          <a:solidFill>
            <a:srgbClr val="FAEEC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327B346-F3A6-C1B7-BA58-4608DEFBA46E}"/>
              </a:ext>
            </a:extLst>
          </p:cNvPr>
          <p:cNvSpPr/>
          <p:nvPr/>
        </p:nvSpPr>
        <p:spPr bwMode="gray">
          <a:xfrm>
            <a:off x="6129850" y="5806831"/>
            <a:ext cx="359507" cy="27900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8A0B6B9-5AED-211E-F1C1-98BEC5C5AD69}"/>
              </a:ext>
            </a:extLst>
          </p:cNvPr>
          <p:cNvSpPr/>
          <p:nvPr/>
        </p:nvSpPr>
        <p:spPr bwMode="gray">
          <a:xfrm>
            <a:off x="7087327" y="5806831"/>
            <a:ext cx="359507" cy="27900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D2A34A1-FD9D-F7D1-9447-492C054D23ED}"/>
              </a:ext>
            </a:extLst>
          </p:cNvPr>
          <p:cNvSpPr/>
          <p:nvPr/>
        </p:nvSpPr>
        <p:spPr bwMode="gray">
          <a:xfrm>
            <a:off x="8044804" y="5806831"/>
            <a:ext cx="359507" cy="27900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1F5C516-4FE6-BBE5-B2BA-A2BE7857BAD9}"/>
              </a:ext>
            </a:extLst>
          </p:cNvPr>
          <p:cNvSpPr/>
          <p:nvPr/>
        </p:nvSpPr>
        <p:spPr bwMode="gray">
          <a:xfrm>
            <a:off x="8955391" y="5806831"/>
            <a:ext cx="359507" cy="27900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8B6A350-D875-91A9-0270-BB73766B3F18}"/>
              </a:ext>
            </a:extLst>
          </p:cNvPr>
          <p:cNvSpPr/>
          <p:nvPr/>
        </p:nvSpPr>
        <p:spPr bwMode="gray">
          <a:xfrm>
            <a:off x="9872753" y="5806831"/>
            <a:ext cx="359507" cy="27900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31" name="btfpRunningAgenda1Level887125">
            <a:extLst>
              <a:ext uri="{FF2B5EF4-FFF2-40B4-BE49-F238E27FC236}">
                <a16:creationId xmlns:a16="http://schemas.microsoft.com/office/drawing/2014/main" id="{C793C86F-8E19-C200-3F55-14B4BF33CAD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44429"/>
            <a:ext cx="3650258" cy="257442"/>
            <a:chOff x="0" y="876300"/>
            <a:chExt cx="3650258" cy="257442"/>
          </a:xfrm>
        </p:grpSpPr>
        <p:sp>
          <p:nvSpPr>
            <p:cNvPr id="24" name="btfpRunningAgenda1LevelBarLeft887125">
              <a:extLst>
                <a:ext uri="{FF2B5EF4-FFF2-40B4-BE49-F238E27FC236}">
                  <a16:creationId xmlns:a16="http://schemas.microsoft.com/office/drawing/2014/main" id="{0655E575-7E81-7A21-5C45-B33DD0690D47}"/>
                </a:ext>
              </a:extLst>
            </p:cNvPr>
            <p:cNvSpPr/>
            <p:nvPr/>
          </p:nvSpPr>
          <p:spPr bwMode="gray">
            <a:xfrm>
              <a:off x="0" y="876300"/>
              <a:ext cx="3650258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811613 w 1811613"/>
                <a:gd name="connsiteY0" fmla="*/ 0 h 257442"/>
                <a:gd name="connsiteX1" fmla="*/ 1570944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971914 w 1971914"/>
                <a:gd name="connsiteY0" fmla="*/ 0 h 257442"/>
                <a:gd name="connsiteX1" fmla="*/ 1756892 w 1971914"/>
                <a:gd name="connsiteY1" fmla="*/ 257442 h 257442"/>
                <a:gd name="connsiteX2" fmla="*/ 0 w 1971914"/>
                <a:gd name="connsiteY2" fmla="*/ 257442 h 257442"/>
                <a:gd name="connsiteX3" fmla="*/ 0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0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1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1 w 1971915"/>
                <a:gd name="connsiteY3" fmla="*/ 0 h 257442"/>
                <a:gd name="connsiteX0" fmla="*/ 2140230 w 2140230"/>
                <a:gd name="connsiteY0" fmla="*/ 0 h 257442"/>
                <a:gd name="connsiteX1" fmla="*/ 1917193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0 w 2140230"/>
                <a:gd name="connsiteY3" fmla="*/ 0 h 257442"/>
                <a:gd name="connsiteX0" fmla="*/ 2401518 w 2401518"/>
                <a:gd name="connsiteY0" fmla="*/ 0 h 257442"/>
                <a:gd name="connsiteX1" fmla="*/ 2085508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401518 w 2401518"/>
                <a:gd name="connsiteY0" fmla="*/ 0 h 257442"/>
                <a:gd name="connsiteX1" fmla="*/ 2346797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401518 w 2401518"/>
                <a:gd name="connsiteY0" fmla="*/ 0 h 257442"/>
                <a:gd name="connsiteX1" fmla="*/ 2346797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401518 w 2401518"/>
                <a:gd name="connsiteY0" fmla="*/ 0 h 257442"/>
                <a:gd name="connsiteX1" fmla="*/ 2346797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561819 w 2561819"/>
                <a:gd name="connsiteY0" fmla="*/ 0 h 257442"/>
                <a:gd name="connsiteX1" fmla="*/ 2346797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730134 w 2730134"/>
                <a:gd name="connsiteY0" fmla="*/ 0 h 257442"/>
                <a:gd name="connsiteX1" fmla="*/ 2507098 w 2730134"/>
                <a:gd name="connsiteY1" fmla="*/ 257442 h 257442"/>
                <a:gd name="connsiteX2" fmla="*/ 0 w 2730134"/>
                <a:gd name="connsiteY2" fmla="*/ 257442 h 257442"/>
                <a:gd name="connsiteX3" fmla="*/ 0 w 2730134"/>
                <a:gd name="connsiteY3" fmla="*/ 0 h 257442"/>
                <a:gd name="connsiteX0" fmla="*/ 2730134 w 2730134"/>
                <a:gd name="connsiteY0" fmla="*/ 0 h 257442"/>
                <a:gd name="connsiteX1" fmla="*/ 2675412 w 2730134"/>
                <a:gd name="connsiteY1" fmla="*/ 257442 h 257442"/>
                <a:gd name="connsiteX2" fmla="*/ 0 w 2730134"/>
                <a:gd name="connsiteY2" fmla="*/ 257442 h 257442"/>
                <a:gd name="connsiteX3" fmla="*/ 0 w 2730134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1 w 2730135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1 w 2730135"/>
                <a:gd name="connsiteY3" fmla="*/ 0 h 257442"/>
                <a:gd name="connsiteX0" fmla="*/ 2983410 w 2983410"/>
                <a:gd name="connsiteY0" fmla="*/ 0 h 257442"/>
                <a:gd name="connsiteX1" fmla="*/ 2675413 w 2983410"/>
                <a:gd name="connsiteY1" fmla="*/ 257442 h 257442"/>
                <a:gd name="connsiteX2" fmla="*/ 0 w 2983410"/>
                <a:gd name="connsiteY2" fmla="*/ 257442 h 257442"/>
                <a:gd name="connsiteX3" fmla="*/ 1 w 2983410"/>
                <a:gd name="connsiteY3" fmla="*/ 0 h 257442"/>
                <a:gd name="connsiteX0" fmla="*/ 2983410 w 2983410"/>
                <a:gd name="connsiteY0" fmla="*/ 0 h 257442"/>
                <a:gd name="connsiteX1" fmla="*/ 2928688 w 2983410"/>
                <a:gd name="connsiteY1" fmla="*/ 257442 h 257442"/>
                <a:gd name="connsiteX2" fmla="*/ 0 w 2983410"/>
                <a:gd name="connsiteY2" fmla="*/ 257442 h 257442"/>
                <a:gd name="connsiteX3" fmla="*/ 1 w 2983410"/>
                <a:gd name="connsiteY3" fmla="*/ 0 h 257442"/>
                <a:gd name="connsiteX0" fmla="*/ 2983410 w 2983410"/>
                <a:gd name="connsiteY0" fmla="*/ 0 h 257442"/>
                <a:gd name="connsiteX1" fmla="*/ 2928688 w 2983410"/>
                <a:gd name="connsiteY1" fmla="*/ 257442 h 257442"/>
                <a:gd name="connsiteX2" fmla="*/ 0 w 2983410"/>
                <a:gd name="connsiteY2" fmla="*/ 257442 h 257442"/>
                <a:gd name="connsiteX3" fmla="*/ 1 w 2983410"/>
                <a:gd name="connsiteY3" fmla="*/ 0 h 257442"/>
                <a:gd name="connsiteX0" fmla="*/ 2983410 w 2983410"/>
                <a:gd name="connsiteY0" fmla="*/ 0 h 257442"/>
                <a:gd name="connsiteX1" fmla="*/ 2928688 w 2983410"/>
                <a:gd name="connsiteY1" fmla="*/ 257442 h 257442"/>
                <a:gd name="connsiteX2" fmla="*/ 0 w 2983410"/>
                <a:gd name="connsiteY2" fmla="*/ 257442 h 257442"/>
                <a:gd name="connsiteX3" fmla="*/ 0 w 2983410"/>
                <a:gd name="connsiteY3" fmla="*/ 0 h 257442"/>
                <a:gd name="connsiteX0" fmla="*/ 3169357 w 3169357"/>
                <a:gd name="connsiteY0" fmla="*/ 0 h 257442"/>
                <a:gd name="connsiteX1" fmla="*/ 2928688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329658 w 3329658"/>
                <a:gd name="connsiteY0" fmla="*/ 0 h 257442"/>
                <a:gd name="connsiteX1" fmla="*/ 3114636 w 3329658"/>
                <a:gd name="connsiteY1" fmla="*/ 257442 h 257442"/>
                <a:gd name="connsiteX2" fmla="*/ 0 w 3329658"/>
                <a:gd name="connsiteY2" fmla="*/ 257442 h 257442"/>
                <a:gd name="connsiteX3" fmla="*/ 0 w 3329658"/>
                <a:gd name="connsiteY3" fmla="*/ 0 h 257442"/>
                <a:gd name="connsiteX0" fmla="*/ 3329658 w 3329658"/>
                <a:gd name="connsiteY0" fmla="*/ 0 h 257442"/>
                <a:gd name="connsiteX1" fmla="*/ 3274936 w 3329658"/>
                <a:gd name="connsiteY1" fmla="*/ 257442 h 257442"/>
                <a:gd name="connsiteX2" fmla="*/ 0 w 3329658"/>
                <a:gd name="connsiteY2" fmla="*/ 257442 h 257442"/>
                <a:gd name="connsiteX3" fmla="*/ 0 w 3329658"/>
                <a:gd name="connsiteY3" fmla="*/ 0 h 257442"/>
                <a:gd name="connsiteX0" fmla="*/ 3329659 w 3329659"/>
                <a:gd name="connsiteY0" fmla="*/ 0 h 257442"/>
                <a:gd name="connsiteX1" fmla="*/ 3274937 w 3329659"/>
                <a:gd name="connsiteY1" fmla="*/ 257442 h 257442"/>
                <a:gd name="connsiteX2" fmla="*/ 0 w 3329659"/>
                <a:gd name="connsiteY2" fmla="*/ 257442 h 257442"/>
                <a:gd name="connsiteX3" fmla="*/ 1 w 3329659"/>
                <a:gd name="connsiteY3" fmla="*/ 0 h 257442"/>
                <a:gd name="connsiteX0" fmla="*/ 3329659 w 3329659"/>
                <a:gd name="connsiteY0" fmla="*/ 0 h 257442"/>
                <a:gd name="connsiteX1" fmla="*/ 3274937 w 3329659"/>
                <a:gd name="connsiteY1" fmla="*/ 257442 h 257442"/>
                <a:gd name="connsiteX2" fmla="*/ 0 w 3329659"/>
                <a:gd name="connsiteY2" fmla="*/ 257442 h 257442"/>
                <a:gd name="connsiteX3" fmla="*/ 1 w 3329659"/>
                <a:gd name="connsiteY3" fmla="*/ 0 h 257442"/>
                <a:gd name="connsiteX0" fmla="*/ 3497973 w 3497973"/>
                <a:gd name="connsiteY0" fmla="*/ 0 h 257442"/>
                <a:gd name="connsiteX1" fmla="*/ 3274937 w 3497973"/>
                <a:gd name="connsiteY1" fmla="*/ 257442 h 257442"/>
                <a:gd name="connsiteX2" fmla="*/ 0 w 3497973"/>
                <a:gd name="connsiteY2" fmla="*/ 257442 h 257442"/>
                <a:gd name="connsiteX3" fmla="*/ 1 w 3497973"/>
                <a:gd name="connsiteY3" fmla="*/ 0 h 257442"/>
                <a:gd name="connsiteX0" fmla="*/ 3497973 w 3497973"/>
                <a:gd name="connsiteY0" fmla="*/ 0 h 257442"/>
                <a:gd name="connsiteX1" fmla="*/ 3443252 w 3497973"/>
                <a:gd name="connsiteY1" fmla="*/ 257442 h 257442"/>
                <a:gd name="connsiteX2" fmla="*/ 0 w 3497973"/>
                <a:gd name="connsiteY2" fmla="*/ 257442 h 257442"/>
                <a:gd name="connsiteX3" fmla="*/ 1 w 3497973"/>
                <a:gd name="connsiteY3" fmla="*/ 0 h 257442"/>
                <a:gd name="connsiteX0" fmla="*/ 3497972 w 3497972"/>
                <a:gd name="connsiteY0" fmla="*/ 0 h 257442"/>
                <a:gd name="connsiteX1" fmla="*/ 3443251 w 3497972"/>
                <a:gd name="connsiteY1" fmla="*/ 257442 h 257442"/>
                <a:gd name="connsiteX2" fmla="*/ 0 w 3497972"/>
                <a:gd name="connsiteY2" fmla="*/ 257442 h 257442"/>
                <a:gd name="connsiteX3" fmla="*/ 0 w 3497972"/>
                <a:gd name="connsiteY3" fmla="*/ 0 h 257442"/>
                <a:gd name="connsiteX0" fmla="*/ 3497973 w 3497973"/>
                <a:gd name="connsiteY0" fmla="*/ 0 h 257442"/>
                <a:gd name="connsiteX1" fmla="*/ 3443252 w 3497973"/>
                <a:gd name="connsiteY1" fmla="*/ 257442 h 257442"/>
                <a:gd name="connsiteX2" fmla="*/ 1 w 3497973"/>
                <a:gd name="connsiteY2" fmla="*/ 257442 h 257442"/>
                <a:gd name="connsiteX3" fmla="*/ 0 w 3497973"/>
                <a:gd name="connsiteY3" fmla="*/ 0 h 257442"/>
                <a:gd name="connsiteX0" fmla="*/ 2460831 w 3443252"/>
                <a:gd name="connsiteY0" fmla="*/ 0 h 257442"/>
                <a:gd name="connsiteX1" fmla="*/ 3443252 w 3443252"/>
                <a:gd name="connsiteY1" fmla="*/ 257442 h 257442"/>
                <a:gd name="connsiteX2" fmla="*/ 1 w 3443252"/>
                <a:gd name="connsiteY2" fmla="*/ 257442 h 257442"/>
                <a:gd name="connsiteX3" fmla="*/ 0 w 3443252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1 w 2460831"/>
                <a:gd name="connsiteY2" fmla="*/ 257442 h 257442"/>
                <a:gd name="connsiteX3" fmla="*/ 0 w 2460831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2 w 2460831"/>
                <a:gd name="connsiteY2" fmla="*/ 257442 h 257442"/>
                <a:gd name="connsiteX3" fmla="*/ 0 w 2460831"/>
                <a:gd name="connsiteY3" fmla="*/ 0 h 257442"/>
                <a:gd name="connsiteX0" fmla="*/ 2460829 w 2460829"/>
                <a:gd name="connsiteY0" fmla="*/ 0 h 257442"/>
                <a:gd name="connsiteX1" fmla="*/ 2406108 w 2460829"/>
                <a:gd name="connsiteY1" fmla="*/ 257442 h 257442"/>
                <a:gd name="connsiteX2" fmla="*/ 0 w 2460829"/>
                <a:gd name="connsiteY2" fmla="*/ 257442 h 257442"/>
                <a:gd name="connsiteX3" fmla="*/ 0 w 2460829"/>
                <a:gd name="connsiteY3" fmla="*/ 0 h 257442"/>
                <a:gd name="connsiteX0" fmla="*/ 2629145 w 2629145"/>
                <a:gd name="connsiteY0" fmla="*/ 0 h 257442"/>
                <a:gd name="connsiteX1" fmla="*/ 2406108 w 2629145"/>
                <a:gd name="connsiteY1" fmla="*/ 257442 h 257442"/>
                <a:gd name="connsiteX2" fmla="*/ 0 w 2629145"/>
                <a:gd name="connsiteY2" fmla="*/ 257442 h 257442"/>
                <a:gd name="connsiteX3" fmla="*/ 0 w 2629145"/>
                <a:gd name="connsiteY3" fmla="*/ 0 h 257442"/>
                <a:gd name="connsiteX0" fmla="*/ 2629145 w 2629145"/>
                <a:gd name="connsiteY0" fmla="*/ 0 h 257442"/>
                <a:gd name="connsiteX1" fmla="*/ 2574424 w 2629145"/>
                <a:gd name="connsiteY1" fmla="*/ 257442 h 257442"/>
                <a:gd name="connsiteX2" fmla="*/ 0 w 2629145"/>
                <a:gd name="connsiteY2" fmla="*/ 257442 h 257442"/>
                <a:gd name="connsiteX3" fmla="*/ 0 w 2629145"/>
                <a:gd name="connsiteY3" fmla="*/ 0 h 257442"/>
                <a:gd name="connsiteX0" fmla="*/ 2629145 w 2629145"/>
                <a:gd name="connsiteY0" fmla="*/ 0 h 257442"/>
                <a:gd name="connsiteX1" fmla="*/ 2574424 w 2629145"/>
                <a:gd name="connsiteY1" fmla="*/ 257442 h 257442"/>
                <a:gd name="connsiteX2" fmla="*/ 0 w 2629145"/>
                <a:gd name="connsiteY2" fmla="*/ 257442 h 257442"/>
                <a:gd name="connsiteX3" fmla="*/ 0 w 2629145"/>
                <a:gd name="connsiteY3" fmla="*/ 0 h 257442"/>
                <a:gd name="connsiteX0" fmla="*/ 2629145 w 2629145"/>
                <a:gd name="connsiteY0" fmla="*/ 0 h 257442"/>
                <a:gd name="connsiteX1" fmla="*/ 2574424 w 2629145"/>
                <a:gd name="connsiteY1" fmla="*/ 257442 h 257442"/>
                <a:gd name="connsiteX2" fmla="*/ 0 w 2629145"/>
                <a:gd name="connsiteY2" fmla="*/ 257442 h 257442"/>
                <a:gd name="connsiteX3" fmla="*/ 0 w 2629145"/>
                <a:gd name="connsiteY3" fmla="*/ 0 h 257442"/>
                <a:gd name="connsiteX0" fmla="*/ 2789445 w 2789445"/>
                <a:gd name="connsiteY0" fmla="*/ 0 h 257442"/>
                <a:gd name="connsiteX1" fmla="*/ 25744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3116907 w 3116907"/>
                <a:gd name="connsiteY0" fmla="*/ 0 h 257442"/>
                <a:gd name="connsiteX1" fmla="*/ 2734724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302855 w 3302855"/>
                <a:gd name="connsiteY0" fmla="*/ 0 h 257442"/>
                <a:gd name="connsiteX1" fmla="*/ 3062186 w 3302855"/>
                <a:gd name="connsiteY1" fmla="*/ 257442 h 257442"/>
                <a:gd name="connsiteX2" fmla="*/ 0 w 3302855"/>
                <a:gd name="connsiteY2" fmla="*/ 257442 h 257442"/>
                <a:gd name="connsiteX3" fmla="*/ 0 w 3302855"/>
                <a:gd name="connsiteY3" fmla="*/ 0 h 257442"/>
                <a:gd name="connsiteX0" fmla="*/ 3302855 w 3302855"/>
                <a:gd name="connsiteY0" fmla="*/ 0 h 257442"/>
                <a:gd name="connsiteX1" fmla="*/ 3248134 w 3302855"/>
                <a:gd name="connsiteY1" fmla="*/ 257442 h 257442"/>
                <a:gd name="connsiteX2" fmla="*/ 0 w 3302855"/>
                <a:gd name="connsiteY2" fmla="*/ 257442 h 257442"/>
                <a:gd name="connsiteX3" fmla="*/ 0 w 3302855"/>
                <a:gd name="connsiteY3" fmla="*/ 0 h 257442"/>
                <a:gd name="connsiteX0" fmla="*/ 3302855 w 3302855"/>
                <a:gd name="connsiteY0" fmla="*/ 0 h 257442"/>
                <a:gd name="connsiteX1" fmla="*/ 3248134 w 3302855"/>
                <a:gd name="connsiteY1" fmla="*/ 257442 h 257442"/>
                <a:gd name="connsiteX2" fmla="*/ 0 w 3302855"/>
                <a:gd name="connsiteY2" fmla="*/ 257442 h 257442"/>
                <a:gd name="connsiteX3" fmla="*/ 0 w 3302855"/>
                <a:gd name="connsiteY3" fmla="*/ 0 h 257442"/>
                <a:gd name="connsiteX0" fmla="*/ 3302855 w 3302855"/>
                <a:gd name="connsiteY0" fmla="*/ 0 h 257442"/>
                <a:gd name="connsiteX1" fmla="*/ 3248134 w 3302855"/>
                <a:gd name="connsiteY1" fmla="*/ 257442 h 257442"/>
                <a:gd name="connsiteX2" fmla="*/ 0 w 3302855"/>
                <a:gd name="connsiteY2" fmla="*/ 257442 h 257442"/>
                <a:gd name="connsiteX3" fmla="*/ 0 w 3302855"/>
                <a:gd name="connsiteY3" fmla="*/ 0 h 257442"/>
                <a:gd name="connsiteX0" fmla="*/ 3463156 w 3463156"/>
                <a:gd name="connsiteY0" fmla="*/ 0 h 257442"/>
                <a:gd name="connsiteX1" fmla="*/ 3248134 w 3463156"/>
                <a:gd name="connsiteY1" fmla="*/ 257442 h 257442"/>
                <a:gd name="connsiteX2" fmla="*/ 0 w 3463156"/>
                <a:gd name="connsiteY2" fmla="*/ 257442 h 257442"/>
                <a:gd name="connsiteX3" fmla="*/ 0 w 3463156"/>
                <a:gd name="connsiteY3" fmla="*/ 0 h 257442"/>
                <a:gd name="connsiteX0" fmla="*/ 3463156 w 3463156"/>
                <a:gd name="connsiteY0" fmla="*/ 0 h 257442"/>
                <a:gd name="connsiteX1" fmla="*/ 3408434 w 3463156"/>
                <a:gd name="connsiteY1" fmla="*/ 257442 h 257442"/>
                <a:gd name="connsiteX2" fmla="*/ 0 w 3463156"/>
                <a:gd name="connsiteY2" fmla="*/ 257442 h 257442"/>
                <a:gd name="connsiteX3" fmla="*/ 0 w 3463156"/>
                <a:gd name="connsiteY3" fmla="*/ 0 h 257442"/>
                <a:gd name="connsiteX0" fmla="*/ 3463157 w 3463157"/>
                <a:gd name="connsiteY0" fmla="*/ 0 h 257442"/>
                <a:gd name="connsiteX1" fmla="*/ 3408435 w 3463157"/>
                <a:gd name="connsiteY1" fmla="*/ 257442 h 257442"/>
                <a:gd name="connsiteX2" fmla="*/ 0 w 3463157"/>
                <a:gd name="connsiteY2" fmla="*/ 257442 h 257442"/>
                <a:gd name="connsiteX3" fmla="*/ 1 w 3463157"/>
                <a:gd name="connsiteY3" fmla="*/ 0 h 257442"/>
                <a:gd name="connsiteX0" fmla="*/ 3463157 w 3463157"/>
                <a:gd name="connsiteY0" fmla="*/ 0 h 257442"/>
                <a:gd name="connsiteX1" fmla="*/ 3408435 w 3463157"/>
                <a:gd name="connsiteY1" fmla="*/ 257442 h 257442"/>
                <a:gd name="connsiteX2" fmla="*/ 0 w 3463157"/>
                <a:gd name="connsiteY2" fmla="*/ 257442 h 257442"/>
                <a:gd name="connsiteX3" fmla="*/ 1 w 3463157"/>
                <a:gd name="connsiteY3" fmla="*/ 0 h 257442"/>
                <a:gd name="connsiteX0" fmla="*/ 3631471 w 3631471"/>
                <a:gd name="connsiteY0" fmla="*/ 0 h 257442"/>
                <a:gd name="connsiteX1" fmla="*/ 3408435 w 3631471"/>
                <a:gd name="connsiteY1" fmla="*/ 257442 h 257442"/>
                <a:gd name="connsiteX2" fmla="*/ 0 w 3631471"/>
                <a:gd name="connsiteY2" fmla="*/ 257442 h 257442"/>
                <a:gd name="connsiteX3" fmla="*/ 1 w 3631471"/>
                <a:gd name="connsiteY3" fmla="*/ 0 h 257442"/>
                <a:gd name="connsiteX0" fmla="*/ 3631471 w 3631471"/>
                <a:gd name="connsiteY0" fmla="*/ 0 h 257442"/>
                <a:gd name="connsiteX1" fmla="*/ 3576750 w 3631471"/>
                <a:gd name="connsiteY1" fmla="*/ 257442 h 257442"/>
                <a:gd name="connsiteX2" fmla="*/ 0 w 3631471"/>
                <a:gd name="connsiteY2" fmla="*/ 257442 h 257442"/>
                <a:gd name="connsiteX3" fmla="*/ 1 w 3631471"/>
                <a:gd name="connsiteY3" fmla="*/ 0 h 257442"/>
                <a:gd name="connsiteX0" fmla="*/ 3631470 w 3631470"/>
                <a:gd name="connsiteY0" fmla="*/ 0 h 257442"/>
                <a:gd name="connsiteX1" fmla="*/ 3576749 w 3631470"/>
                <a:gd name="connsiteY1" fmla="*/ 257442 h 257442"/>
                <a:gd name="connsiteX2" fmla="*/ 0 w 3631470"/>
                <a:gd name="connsiteY2" fmla="*/ 257442 h 257442"/>
                <a:gd name="connsiteX3" fmla="*/ 0 w 3631470"/>
                <a:gd name="connsiteY3" fmla="*/ 0 h 257442"/>
                <a:gd name="connsiteX0" fmla="*/ 3631471 w 3631471"/>
                <a:gd name="connsiteY0" fmla="*/ 0 h 257442"/>
                <a:gd name="connsiteX1" fmla="*/ 3576750 w 3631471"/>
                <a:gd name="connsiteY1" fmla="*/ 257442 h 257442"/>
                <a:gd name="connsiteX2" fmla="*/ 1 w 3631471"/>
                <a:gd name="connsiteY2" fmla="*/ 257442 h 257442"/>
                <a:gd name="connsiteX3" fmla="*/ 0 w 3631471"/>
                <a:gd name="connsiteY3" fmla="*/ 0 h 257442"/>
                <a:gd name="connsiteX0" fmla="*/ 3471171 w 3576750"/>
                <a:gd name="connsiteY0" fmla="*/ 0 h 257442"/>
                <a:gd name="connsiteX1" fmla="*/ 3576750 w 3576750"/>
                <a:gd name="connsiteY1" fmla="*/ 257442 h 257442"/>
                <a:gd name="connsiteX2" fmla="*/ 1 w 3576750"/>
                <a:gd name="connsiteY2" fmla="*/ 257442 h 257442"/>
                <a:gd name="connsiteX3" fmla="*/ 0 w 3576750"/>
                <a:gd name="connsiteY3" fmla="*/ 0 h 257442"/>
                <a:gd name="connsiteX0" fmla="*/ 3471171 w 3471171"/>
                <a:gd name="connsiteY0" fmla="*/ 0 h 257442"/>
                <a:gd name="connsiteX1" fmla="*/ 3416450 w 3471171"/>
                <a:gd name="connsiteY1" fmla="*/ 257442 h 257442"/>
                <a:gd name="connsiteX2" fmla="*/ 1 w 3471171"/>
                <a:gd name="connsiteY2" fmla="*/ 257442 h 257442"/>
                <a:gd name="connsiteX3" fmla="*/ 0 w 3471171"/>
                <a:gd name="connsiteY3" fmla="*/ 0 h 257442"/>
                <a:gd name="connsiteX0" fmla="*/ 3471171 w 3471171"/>
                <a:gd name="connsiteY0" fmla="*/ 0 h 257442"/>
                <a:gd name="connsiteX1" fmla="*/ 3416450 w 3471171"/>
                <a:gd name="connsiteY1" fmla="*/ 257442 h 257442"/>
                <a:gd name="connsiteX2" fmla="*/ 2 w 3471171"/>
                <a:gd name="connsiteY2" fmla="*/ 257442 h 257442"/>
                <a:gd name="connsiteX3" fmla="*/ 0 w 3471171"/>
                <a:gd name="connsiteY3" fmla="*/ 0 h 257442"/>
                <a:gd name="connsiteX0" fmla="*/ 3471169 w 3471169"/>
                <a:gd name="connsiteY0" fmla="*/ 0 h 257442"/>
                <a:gd name="connsiteX1" fmla="*/ 3416448 w 3471169"/>
                <a:gd name="connsiteY1" fmla="*/ 257442 h 257442"/>
                <a:gd name="connsiteX2" fmla="*/ 0 w 3471169"/>
                <a:gd name="connsiteY2" fmla="*/ 257442 h 257442"/>
                <a:gd name="connsiteX3" fmla="*/ 0 w 3471169"/>
                <a:gd name="connsiteY3" fmla="*/ 0 h 257442"/>
                <a:gd name="connsiteX0" fmla="*/ 3285222 w 3416448"/>
                <a:gd name="connsiteY0" fmla="*/ 0 h 257442"/>
                <a:gd name="connsiteX1" fmla="*/ 3416448 w 3416448"/>
                <a:gd name="connsiteY1" fmla="*/ 257442 h 257442"/>
                <a:gd name="connsiteX2" fmla="*/ 0 w 3416448"/>
                <a:gd name="connsiteY2" fmla="*/ 257442 h 257442"/>
                <a:gd name="connsiteX3" fmla="*/ 0 w 3416448"/>
                <a:gd name="connsiteY3" fmla="*/ 0 h 257442"/>
                <a:gd name="connsiteX0" fmla="*/ 3285222 w 3285222"/>
                <a:gd name="connsiteY0" fmla="*/ 0 h 257442"/>
                <a:gd name="connsiteX1" fmla="*/ 3230501 w 3285222"/>
                <a:gd name="connsiteY1" fmla="*/ 257442 h 257442"/>
                <a:gd name="connsiteX2" fmla="*/ 0 w 3285222"/>
                <a:gd name="connsiteY2" fmla="*/ 257442 h 257442"/>
                <a:gd name="connsiteX3" fmla="*/ 0 w 3285222"/>
                <a:gd name="connsiteY3" fmla="*/ 0 h 257442"/>
                <a:gd name="connsiteX0" fmla="*/ 3285222 w 3285222"/>
                <a:gd name="connsiteY0" fmla="*/ 0 h 257442"/>
                <a:gd name="connsiteX1" fmla="*/ 3230501 w 3285222"/>
                <a:gd name="connsiteY1" fmla="*/ 257442 h 257442"/>
                <a:gd name="connsiteX2" fmla="*/ 0 w 3285222"/>
                <a:gd name="connsiteY2" fmla="*/ 257442 h 257442"/>
                <a:gd name="connsiteX3" fmla="*/ 0 w 3285222"/>
                <a:gd name="connsiteY3" fmla="*/ 0 h 257442"/>
                <a:gd name="connsiteX0" fmla="*/ 3285222 w 3285222"/>
                <a:gd name="connsiteY0" fmla="*/ 0 h 257442"/>
                <a:gd name="connsiteX1" fmla="*/ 3230501 w 3285222"/>
                <a:gd name="connsiteY1" fmla="*/ 257442 h 257442"/>
                <a:gd name="connsiteX2" fmla="*/ 0 w 3285222"/>
                <a:gd name="connsiteY2" fmla="*/ 257442 h 257442"/>
                <a:gd name="connsiteX3" fmla="*/ 0 w 3285222"/>
                <a:gd name="connsiteY3" fmla="*/ 0 h 257442"/>
                <a:gd name="connsiteX0" fmla="*/ 3110046 w 3230501"/>
                <a:gd name="connsiteY0" fmla="*/ 0 h 257442"/>
                <a:gd name="connsiteX1" fmla="*/ 3230501 w 3230501"/>
                <a:gd name="connsiteY1" fmla="*/ 257442 h 257442"/>
                <a:gd name="connsiteX2" fmla="*/ 0 w 3230501"/>
                <a:gd name="connsiteY2" fmla="*/ 257442 h 257442"/>
                <a:gd name="connsiteX3" fmla="*/ 0 w 3230501"/>
                <a:gd name="connsiteY3" fmla="*/ 0 h 257442"/>
                <a:gd name="connsiteX0" fmla="*/ 3110046 w 3110046"/>
                <a:gd name="connsiteY0" fmla="*/ 0 h 257442"/>
                <a:gd name="connsiteX1" fmla="*/ 3055326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110046 w 3110046"/>
                <a:gd name="connsiteY0" fmla="*/ 0 h 257442"/>
                <a:gd name="connsiteX1" fmla="*/ 3055326 w 3110046"/>
                <a:gd name="connsiteY1" fmla="*/ 257442 h 257442"/>
                <a:gd name="connsiteX2" fmla="*/ 1 w 3110046"/>
                <a:gd name="connsiteY2" fmla="*/ 257442 h 257442"/>
                <a:gd name="connsiteX3" fmla="*/ 0 w 3110046"/>
                <a:gd name="connsiteY3" fmla="*/ 0 h 257442"/>
                <a:gd name="connsiteX0" fmla="*/ 3110045 w 3110045"/>
                <a:gd name="connsiteY0" fmla="*/ 0 h 257442"/>
                <a:gd name="connsiteX1" fmla="*/ 3055325 w 3110045"/>
                <a:gd name="connsiteY1" fmla="*/ 257442 h 257442"/>
                <a:gd name="connsiteX2" fmla="*/ 0 w 3110045"/>
                <a:gd name="connsiteY2" fmla="*/ 257442 h 257442"/>
                <a:gd name="connsiteX3" fmla="*/ 0 w 3110045"/>
                <a:gd name="connsiteY3" fmla="*/ 0 h 257442"/>
                <a:gd name="connsiteX0" fmla="*/ 2957761 w 3055325"/>
                <a:gd name="connsiteY0" fmla="*/ 0 h 257442"/>
                <a:gd name="connsiteX1" fmla="*/ 3055325 w 3055325"/>
                <a:gd name="connsiteY1" fmla="*/ 257442 h 257442"/>
                <a:gd name="connsiteX2" fmla="*/ 0 w 3055325"/>
                <a:gd name="connsiteY2" fmla="*/ 257442 h 257442"/>
                <a:gd name="connsiteX3" fmla="*/ 0 w 3055325"/>
                <a:gd name="connsiteY3" fmla="*/ 0 h 257442"/>
                <a:gd name="connsiteX0" fmla="*/ 2957761 w 2957761"/>
                <a:gd name="connsiteY0" fmla="*/ 0 h 257442"/>
                <a:gd name="connsiteX1" fmla="*/ 2903040 w 2957761"/>
                <a:gd name="connsiteY1" fmla="*/ 257442 h 257442"/>
                <a:gd name="connsiteX2" fmla="*/ 0 w 2957761"/>
                <a:gd name="connsiteY2" fmla="*/ 257442 h 257442"/>
                <a:gd name="connsiteX3" fmla="*/ 0 w 2957761"/>
                <a:gd name="connsiteY3" fmla="*/ 0 h 257442"/>
                <a:gd name="connsiteX0" fmla="*/ 2957761 w 2957761"/>
                <a:gd name="connsiteY0" fmla="*/ 0 h 257442"/>
                <a:gd name="connsiteX1" fmla="*/ 2903040 w 2957761"/>
                <a:gd name="connsiteY1" fmla="*/ 257442 h 257442"/>
                <a:gd name="connsiteX2" fmla="*/ 0 w 2957761"/>
                <a:gd name="connsiteY2" fmla="*/ 257442 h 257442"/>
                <a:gd name="connsiteX3" fmla="*/ 0 w 2957761"/>
                <a:gd name="connsiteY3" fmla="*/ 0 h 257442"/>
                <a:gd name="connsiteX0" fmla="*/ 2957761 w 2957761"/>
                <a:gd name="connsiteY0" fmla="*/ 0 h 257442"/>
                <a:gd name="connsiteX1" fmla="*/ 2903040 w 2957761"/>
                <a:gd name="connsiteY1" fmla="*/ 257442 h 257442"/>
                <a:gd name="connsiteX2" fmla="*/ 0 w 2957761"/>
                <a:gd name="connsiteY2" fmla="*/ 257442 h 257442"/>
                <a:gd name="connsiteX3" fmla="*/ 0 w 2957761"/>
                <a:gd name="connsiteY3" fmla="*/ 0 h 257442"/>
                <a:gd name="connsiteX0" fmla="*/ 2797461 w 2903040"/>
                <a:gd name="connsiteY0" fmla="*/ 0 h 257442"/>
                <a:gd name="connsiteX1" fmla="*/ 2903040 w 2903040"/>
                <a:gd name="connsiteY1" fmla="*/ 257442 h 257442"/>
                <a:gd name="connsiteX2" fmla="*/ 0 w 2903040"/>
                <a:gd name="connsiteY2" fmla="*/ 257442 h 257442"/>
                <a:gd name="connsiteX3" fmla="*/ 0 w 2903040"/>
                <a:gd name="connsiteY3" fmla="*/ 0 h 257442"/>
                <a:gd name="connsiteX0" fmla="*/ 2797461 w 2797461"/>
                <a:gd name="connsiteY0" fmla="*/ 0 h 257442"/>
                <a:gd name="connsiteX1" fmla="*/ 2742740 w 2797461"/>
                <a:gd name="connsiteY1" fmla="*/ 257442 h 257442"/>
                <a:gd name="connsiteX2" fmla="*/ 0 w 2797461"/>
                <a:gd name="connsiteY2" fmla="*/ 257442 h 257442"/>
                <a:gd name="connsiteX3" fmla="*/ 0 w 2797461"/>
                <a:gd name="connsiteY3" fmla="*/ 0 h 257442"/>
                <a:gd name="connsiteX0" fmla="*/ 2797461 w 2797461"/>
                <a:gd name="connsiteY0" fmla="*/ 0 h 257442"/>
                <a:gd name="connsiteX1" fmla="*/ 2742740 w 2797461"/>
                <a:gd name="connsiteY1" fmla="*/ 257442 h 257442"/>
                <a:gd name="connsiteX2" fmla="*/ 1 w 2797461"/>
                <a:gd name="connsiteY2" fmla="*/ 257442 h 257442"/>
                <a:gd name="connsiteX3" fmla="*/ 0 w 2797461"/>
                <a:gd name="connsiteY3" fmla="*/ 0 h 257442"/>
                <a:gd name="connsiteX0" fmla="*/ 2797460 w 2797460"/>
                <a:gd name="connsiteY0" fmla="*/ 0 h 257442"/>
                <a:gd name="connsiteX1" fmla="*/ 2742739 w 2797460"/>
                <a:gd name="connsiteY1" fmla="*/ 257442 h 257442"/>
                <a:gd name="connsiteX2" fmla="*/ 0 w 2797460"/>
                <a:gd name="connsiteY2" fmla="*/ 257442 h 257442"/>
                <a:gd name="connsiteX3" fmla="*/ 0 w 2797460"/>
                <a:gd name="connsiteY3" fmla="*/ 0 h 257442"/>
                <a:gd name="connsiteX0" fmla="*/ 2629144 w 2742739"/>
                <a:gd name="connsiteY0" fmla="*/ 0 h 257442"/>
                <a:gd name="connsiteX1" fmla="*/ 2742739 w 2742739"/>
                <a:gd name="connsiteY1" fmla="*/ 257442 h 257442"/>
                <a:gd name="connsiteX2" fmla="*/ 0 w 2742739"/>
                <a:gd name="connsiteY2" fmla="*/ 257442 h 257442"/>
                <a:gd name="connsiteX3" fmla="*/ 0 w 2742739"/>
                <a:gd name="connsiteY3" fmla="*/ 0 h 257442"/>
                <a:gd name="connsiteX0" fmla="*/ 2629144 w 2629144"/>
                <a:gd name="connsiteY0" fmla="*/ 0 h 257442"/>
                <a:gd name="connsiteX1" fmla="*/ 2574424 w 2629144"/>
                <a:gd name="connsiteY1" fmla="*/ 257442 h 257442"/>
                <a:gd name="connsiteX2" fmla="*/ 0 w 2629144"/>
                <a:gd name="connsiteY2" fmla="*/ 257442 h 257442"/>
                <a:gd name="connsiteX3" fmla="*/ 0 w 2629144"/>
                <a:gd name="connsiteY3" fmla="*/ 0 h 257442"/>
                <a:gd name="connsiteX0" fmla="*/ 2629144 w 2629144"/>
                <a:gd name="connsiteY0" fmla="*/ 0 h 257442"/>
                <a:gd name="connsiteX1" fmla="*/ 2574424 w 2629144"/>
                <a:gd name="connsiteY1" fmla="*/ 257442 h 257442"/>
                <a:gd name="connsiteX2" fmla="*/ 0 w 2629144"/>
                <a:gd name="connsiteY2" fmla="*/ 257442 h 257442"/>
                <a:gd name="connsiteX3" fmla="*/ 0 w 2629144"/>
                <a:gd name="connsiteY3" fmla="*/ 0 h 257442"/>
                <a:gd name="connsiteX0" fmla="*/ 2629144 w 2629144"/>
                <a:gd name="connsiteY0" fmla="*/ 0 h 257442"/>
                <a:gd name="connsiteX1" fmla="*/ 2574424 w 2629144"/>
                <a:gd name="connsiteY1" fmla="*/ 257442 h 257442"/>
                <a:gd name="connsiteX2" fmla="*/ 0 w 2629144"/>
                <a:gd name="connsiteY2" fmla="*/ 257442 h 257442"/>
                <a:gd name="connsiteX3" fmla="*/ 0 w 2629144"/>
                <a:gd name="connsiteY3" fmla="*/ 0 h 257442"/>
                <a:gd name="connsiteX0" fmla="*/ 2807079 w 2807079"/>
                <a:gd name="connsiteY0" fmla="*/ 0 h 257442"/>
                <a:gd name="connsiteX1" fmla="*/ 2574424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975393 w 2975393"/>
                <a:gd name="connsiteY0" fmla="*/ 0 h 257442"/>
                <a:gd name="connsiteX1" fmla="*/ 2752358 w 2975393"/>
                <a:gd name="connsiteY1" fmla="*/ 257442 h 257442"/>
                <a:gd name="connsiteX2" fmla="*/ 0 w 2975393"/>
                <a:gd name="connsiteY2" fmla="*/ 257442 h 257442"/>
                <a:gd name="connsiteX3" fmla="*/ 0 w 2975393"/>
                <a:gd name="connsiteY3" fmla="*/ 0 h 257442"/>
                <a:gd name="connsiteX0" fmla="*/ 2975393 w 2975393"/>
                <a:gd name="connsiteY0" fmla="*/ 0 h 257442"/>
                <a:gd name="connsiteX1" fmla="*/ 2920672 w 2975393"/>
                <a:gd name="connsiteY1" fmla="*/ 257442 h 257442"/>
                <a:gd name="connsiteX2" fmla="*/ 0 w 2975393"/>
                <a:gd name="connsiteY2" fmla="*/ 257442 h 257442"/>
                <a:gd name="connsiteX3" fmla="*/ 0 w 2975393"/>
                <a:gd name="connsiteY3" fmla="*/ 0 h 257442"/>
                <a:gd name="connsiteX0" fmla="*/ 2975393 w 2975393"/>
                <a:gd name="connsiteY0" fmla="*/ 0 h 257442"/>
                <a:gd name="connsiteX1" fmla="*/ 2920672 w 2975393"/>
                <a:gd name="connsiteY1" fmla="*/ 257442 h 257442"/>
                <a:gd name="connsiteX2" fmla="*/ 0 w 2975393"/>
                <a:gd name="connsiteY2" fmla="*/ 257442 h 257442"/>
                <a:gd name="connsiteX3" fmla="*/ 0 w 2975393"/>
                <a:gd name="connsiteY3" fmla="*/ 0 h 257442"/>
                <a:gd name="connsiteX0" fmla="*/ 2975393 w 2975393"/>
                <a:gd name="connsiteY0" fmla="*/ 0 h 257442"/>
                <a:gd name="connsiteX1" fmla="*/ 2920672 w 2975393"/>
                <a:gd name="connsiteY1" fmla="*/ 257442 h 257442"/>
                <a:gd name="connsiteX2" fmla="*/ 0 w 2975393"/>
                <a:gd name="connsiteY2" fmla="*/ 257442 h 257442"/>
                <a:gd name="connsiteX3" fmla="*/ 0 w 2975393"/>
                <a:gd name="connsiteY3" fmla="*/ 0 h 257442"/>
                <a:gd name="connsiteX0" fmla="*/ 3135694 w 3135694"/>
                <a:gd name="connsiteY0" fmla="*/ 0 h 257442"/>
                <a:gd name="connsiteX1" fmla="*/ 2920672 w 3135694"/>
                <a:gd name="connsiteY1" fmla="*/ 257442 h 257442"/>
                <a:gd name="connsiteX2" fmla="*/ 0 w 3135694"/>
                <a:gd name="connsiteY2" fmla="*/ 257442 h 257442"/>
                <a:gd name="connsiteX3" fmla="*/ 0 w 3135694"/>
                <a:gd name="connsiteY3" fmla="*/ 0 h 257442"/>
                <a:gd name="connsiteX0" fmla="*/ 3135694 w 3135694"/>
                <a:gd name="connsiteY0" fmla="*/ 0 h 257442"/>
                <a:gd name="connsiteX1" fmla="*/ 3080972 w 3135694"/>
                <a:gd name="connsiteY1" fmla="*/ 257442 h 257442"/>
                <a:gd name="connsiteX2" fmla="*/ 0 w 3135694"/>
                <a:gd name="connsiteY2" fmla="*/ 257442 h 257442"/>
                <a:gd name="connsiteX3" fmla="*/ 0 w 3135694"/>
                <a:gd name="connsiteY3" fmla="*/ 0 h 257442"/>
                <a:gd name="connsiteX0" fmla="*/ 3135695 w 3135695"/>
                <a:gd name="connsiteY0" fmla="*/ 0 h 257442"/>
                <a:gd name="connsiteX1" fmla="*/ 3080973 w 3135695"/>
                <a:gd name="connsiteY1" fmla="*/ 257442 h 257442"/>
                <a:gd name="connsiteX2" fmla="*/ 0 w 3135695"/>
                <a:gd name="connsiteY2" fmla="*/ 257442 h 257442"/>
                <a:gd name="connsiteX3" fmla="*/ 1 w 3135695"/>
                <a:gd name="connsiteY3" fmla="*/ 0 h 257442"/>
                <a:gd name="connsiteX0" fmla="*/ 3135695 w 3135695"/>
                <a:gd name="connsiteY0" fmla="*/ 0 h 257442"/>
                <a:gd name="connsiteX1" fmla="*/ 3080973 w 3135695"/>
                <a:gd name="connsiteY1" fmla="*/ 257442 h 257442"/>
                <a:gd name="connsiteX2" fmla="*/ 0 w 3135695"/>
                <a:gd name="connsiteY2" fmla="*/ 257442 h 257442"/>
                <a:gd name="connsiteX3" fmla="*/ 1 w 3135695"/>
                <a:gd name="connsiteY3" fmla="*/ 0 h 257442"/>
                <a:gd name="connsiteX0" fmla="*/ 3304010 w 3304010"/>
                <a:gd name="connsiteY0" fmla="*/ 0 h 257442"/>
                <a:gd name="connsiteX1" fmla="*/ 3080973 w 3304010"/>
                <a:gd name="connsiteY1" fmla="*/ 257442 h 257442"/>
                <a:gd name="connsiteX2" fmla="*/ 0 w 3304010"/>
                <a:gd name="connsiteY2" fmla="*/ 257442 h 257442"/>
                <a:gd name="connsiteX3" fmla="*/ 1 w 3304010"/>
                <a:gd name="connsiteY3" fmla="*/ 0 h 257442"/>
                <a:gd name="connsiteX0" fmla="*/ 3304010 w 3304010"/>
                <a:gd name="connsiteY0" fmla="*/ 0 h 257442"/>
                <a:gd name="connsiteX1" fmla="*/ 3249288 w 3304010"/>
                <a:gd name="connsiteY1" fmla="*/ 257442 h 257442"/>
                <a:gd name="connsiteX2" fmla="*/ 0 w 3304010"/>
                <a:gd name="connsiteY2" fmla="*/ 257442 h 257442"/>
                <a:gd name="connsiteX3" fmla="*/ 1 w 3304010"/>
                <a:gd name="connsiteY3" fmla="*/ 0 h 257442"/>
                <a:gd name="connsiteX0" fmla="*/ 3304010 w 3304010"/>
                <a:gd name="connsiteY0" fmla="*/ 0 h 257442"/>
                <a:gd name="connsiteX1" fmla="*/ 3249288 w 3304010"/>
                <a:gd name="connsiteY1" fmla="*/ 257442 h 257442"/>
                <a:gd name="connsiteX2" fmla="*/ 0 w 3304010"/>
                <a:gd name="connsiteY2" fmla="*/ 257442 h 257442"/>
                <a:gd name="connsiteX3" fmla="*/ 1 w 3304010"/>
                <a:gd name="connsiteY3" fmla="*/ 0 h 257442"/>
                <a:gd name="connsiteX0" fmla="*/ 3304010 w 3304010"/>
                <a:gd name="connsiteY0" fmla="*/ 0 h 257442"/>
                <a:gd name="connsiteX1" fmla="*/ 3249288 w 3304010"/>
                <a:gd name="connsiteY1" fmla="*/ 257442 h 257442"/>
                <a:gd name="connsiteX2" fmla="*/ 0 w 3304010"/>
                <a:gd name="connsiteY2" fmla="*/ 257442 h 257442"/>
                <a:gd name="connsiteX3" fmla="*/ 0 w 3304010"/>
                <a:gd name="connsiteY3" fmla="*/ 0 h 257442"/>
                <a:gd name="connsiteX0" fmla="*/ 3489958 w 3489958"/>
                <a:gd name="connsiteY0" fmla="*/ 0 h 257442"/>
                <a:gd name="connsiteX1" fmla="*/ 3249288 w 3489958"/>
                <a:gd name="connsiteY1" fmla="*/ 257442 h 257442"/>
                <a:gd name="connsiteX2" fmla="*/ 0 w 3489958"/>
                <a:gd name="connsiteY2" fmla="*/ 257442 h 257442"/>
                <a:gd name="connsiteX3" fmla="*/ 0 w 3489958"/>
                <a:gd name="connsiteY3" fmla="*/ 0 h 257442"/>
                <a:gd name="connsiteX0" fmla="*/ 3489958 w 3489958"/>
                <a:gd name="connsiteY0" fmla="*/ 0 h 257442"/>
                <a:gd name="connsiteX1" fmla="*/ 3435237 w 3489958"/>
                <a:gd name="connsiteY1" fmla="*/ 257442 h 257442"/>
                <a:gd name="connsiteX2" fmla="*/ 0 w 3489958"/>
                <a:gd name="connsiteY2" fmla="*/ 257442 h 257442"/>
                <a:gd name="connsiteX3" fmla="*/ 0 w 3489958"/>
                <a:gd name="connsiteY3" fmla="*/ 0 h 257442"/>
                <a:gd name="connsiteX0" fmla="*/ 3489958 w 3489958"/>
                <a:gd name="connsiteY0" fmla="*/ 0 h 257442"/>
                <a:gd name="connsiteX1" fmla="*/ 3435237 w 3489958"/>
                <a:gd name="connsiteY1" fmla="*/ 257442 h 257442"/>
                <a:gd name="connsiteX2" fmla="*/ 0 w 3489958"/>
                <a:gd name="connsiteY2" fmla="*/ 257442 h 257442"/>
                <a:gd name="connsiteX3" fmla="*/ 0 w 3489958"/>
                <a:gd name="connsiteY3" fmla="*/ 0 h 257442"/>
                <a:gd name="connsiteX0" fmla="*/ 3489958 w 3489958"/>
                <a:gd name="connsiteY0" fmla="*/ 0 h 257442"/>
                <a:gd name="connsiteX1" fmla="*/ 3435237 w 3489958"/>
                <a:gd name="connsiteY1" fmla="*/ 257442 h 257442"/>
                <a:gd name="connsiteX2" fmla="*/ 0 w 3489958"/>
                <a:gd name="connsiteY2" fmla="*/ 257442 h 257442"/>
                <a:gd name="connsiteX3" fmla="*/ 0 w 3489958"/>
                <a:gd name="connsiteY3" fmla="*/ 0 h 257442"/>
                <a:gd name="connsiteX0" fmla="*/ 3650258 w 3650258"/>
                <a:gd name="connsiteY0" fmla="*/ 0 h 257442"/>
                <a:gd name="connsiteX1" fmla="*/ 3435237 w 3650258"/>
                <a:gd name="connsiteY1" fmla="*/ 257442 h 257442"/>
                <a:gd name="connsiteX2" fmla="*/ 0 w 3650258"/>
                <a:gd name="connsiteY2" fmla="*/ 257442 h 257442"/>
                <a:gd name="connsiteX3" fmla="*/ 0 w 3650258"/>
                <a:gd name="connsiteY3" fmla="*/ 0 h 257442"/>
                <a:gd name="connsiteX0" fmla="*/ 3650258 w 3650258"/>
                <a:gd name="connsiteY0" fmla="*/ 0 h 257442"/>
                <a:gd name="connsiteX1" fmla="*/ 3595537 w 3650258"/>
                <a:gd name="connsiteY1" fmla="*/ 257442 h 257442"/>
                <a:gd name="connsiteX2" fmla="*/ 0 w 3650258"/>
                <a:gd name="connsiteY2" fmla="*/ 257442 h 257442"/>
                <a:gd name="connsiteX3" fmla="*/ 0 w 3650258"/>
                <a:gd name="connsiteY3" fmla="*/ 0 h 257442"/>
                <a:gd name="connsiteX0" fmla="*/ 3650258 w 3650258"/>
                <a:gd name="connsiteY0" fmla="*/ 0 h 257442"/>
                <a:gd name="connsiteX1" fmla="*/ 3595537 w 3650258"/>
                <a:gd name="connsiteY1" fmla="*/ 257442 h 257442"/>
                <a:gd name="connsiteX2" fmla="*/ 0 w 3650258"/>
                <a:gd name="connsiteY2" fmla="*/ 257442 h 257442"/>
                <a:gd name="connsiteX3" fmla="*/ 0 w 3650258"/>
                <a:gd name="connsiteY3" fmla="*/ 0 h 257442"/>
                <a:gd name="connsiteX0" fmla="*/ 3650258 w 3650258"/>
                <a:gd name="connsiteY0" fmla="*/ 0 h 257442"/>
                <a:gd name="connsiteX1" fmla="*/ 3595537 w 3650258"/>
                <a:gd name="connsiteY1" fmla="*/ 257442 h 257442"/>
                <a:gd name="connsiteX2" fmla="*/ 0 w 3650258"/>
                <a:gd name="connsiteY2" fmla="*/ 257442 h 257442"/>
                <a:gd name="connsiteX3" fmla="*/ 0 w 365025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0258" h="257442">
                  <a:moveTo>
                    <a:pt x="3650258" y="0"/>
                  </a:moveTo>
                  <a:lnTo>
                    <a:pt x="3595537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3" name="btfpRunningAgenda1LevelTextLeft887125">
              <a:extLst>
                <a:ext uri="{FF2B5EF4-FFF2-40B4-BE49-F238E27FC236}">
                  <a16:creationId xmlns:a16="http://schemas.microsoft.com/office/drawing/2014/main" id="{DBC79795-A08D-1F9D-8A7B-4564C860ED24}"/>
                </a:ext>
              </a:extLst>
            </p:cNvPr>
            <p:cNvSpPr txBox="1"/>
            <p:nvPr/>
          </p:nvSpPr>
          <p:spPr bwMode="gray">
            <a:xfrm>
              <a:off x="0" y="876300"/>
              <a:ext cx="359553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nsumer sentiment</a:t>
              </a:r>
            </a:p>
          </p:txBody>
        </p:sp>
      </p:grpSp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54B0EF12-6027-9ED0-08A9-FADE4038E55D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3" name="btfpColumnGapBlocker262141">
              <a:extLst>
                <a:ext uri="{FF2B5EF4-FFF2-40B4-BE49-F238E27FC236}">
                  <a16:creationId xmlns:a16="http://schemas.microsoft.com/office/drawing/2014/main" id="{35BEFC99-A646-FD9F-23EA-6369704405C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1" name="btfpColumnGapBlocker753832">
              <a:extLst>
                <a:ext uri="{FF2B5EF4-FFF2-40B4-BE49-F238E27FC236}">
                  <a16:creationId xmlns:a16="http://schemas.microsoft.com/office/drawing/2014/main" id="{D1A2D69B-3667-CBB7-DA67-86C77F22BEDD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" name="btfpColumnIndicator269354">
              <a:extLst>
                <a:ext uri="{FF2B5EF4-FFF2-40B4-BE49-F238E27FC236}">
                  <a16:creationId xmlns:a16="http://schemas.microsoft.com/office/drawing/2014/main" id="{23B863EF-0318-BF8E-64C2-7C82ACF89C46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791350">
              <a:extLst>
                <a:ext uri="{FF2B5EF4-FFF2-40B4-BE49-F238E27FC236}">
                  <a16:creationId xmlns:a16="http://schemas.microsoft.com/office/drawing/2014/main" id="{30A7164E-CEBC-8E78-E81A-F28D22D6B75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9A8A4A03-1B64-97D4-B3EF-342D0A78077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" name="btfpColumnGapBlocker679817">
              <a:extLst>
                <a:ext uri="{FF2B5EF4-FFF2-40B4-BE49-F238E27FC236}">
                  <a16:creationId xmlns:a16="http://schemas.microsoft.com/office/drawing/2014/main" id="{9A8462F3-CDA3-07AF-2C43-4742E8ACE571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616400">
              <a:extLst>
                <a:ext uri="{FF2B5EF4-FFF2-40B4-BE49-F238E27FC236}">
                  <a16:creationId xmlns:a16="http://schemas.microsoft.com/office/drawing/2014/main" id="{314D228A-62C1-24EA-225C-F7E3EA2F2D5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396580">
              <a:extLst>
                <a:ext uri="{FF2B5EF4-FFF2-40B4-BE49-F238E27FC236}">
                  <a16:creationId xmlns:a16="http://schemas.microsoft.com/office/drawing/2014/main" id="{CAAB175D-6439-C5AD-4621-22CE087B8EF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912268">
              <a:extLst>
                <a:ext uri="{FF2B5EF4-FFF2-40B4-BE49-F238E27FC236}">
                  <a16:creationId xmlns:a16="http://schemas.microsoft.com/office/drawing/2014/main" id="{C44CC2BA-6172-8598-DE7D-9A1E4922BD4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624410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740350649972884 columns_1_131740338247856450 6_1_131740338246954055 9_1_131740338247154583 12_1_131740338247345185 13_1_131740338247596111 19_1_131740350340356512 22_1_131740350520505784 26_1_131740351718073034 29_1_131740360203575201 </a:t>
            </a:r>
          </a:p>
        </p:txBody>
      </p:sp>
      <p:sp>
        <p:nvSpPr>
          <p:cNvPr id="26" name="btfpNotesBox304406"/>
          <p:cNvSpPr txBox="1"/>
          <p:nvPr>
            <p:custDataLst>
              <p:tags r:id="rId4"/>
            </p:custDataLst>
          </p:nvPr>
        </p:nvSpPr>
        <p:spPr bwMode="gray">
          <a:xfrm>
            <a:off x="330199" y="6322060"/>
            <a:ext cx="11531600" cy="24384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Net sentiment = % 4 &amp; 5 ratings minus % 1 &amp; 2 rating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Google Reviews</a:t>
            </a:r>
          </a:p>
        </p:txBody>
      </p:sp>
      <p:sp>
        <p:nvSpPr>
          <p:cNvPr id="7" name="BainBulletsConfiguration" hidden="1"/>
          <p:cNvSpPr txBox="1"/>
          <p:nvPr/>
        </p:nvSpPr>
        <p:spPr bwMode="gray">
          <a:xfrm>
            <a:off x="12700" y="12700"/>
            <a:ext cx="7276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2053" name="Title 2052">
            <a:extLst>
              <a:ext uri="{FF2B5EF4-FFF2-40B4-BE49-F238E27FC236}">
                <a16:creationId xmlns:a16="http://schemas.microsoft.com/office/drawing/2014/main" id="{D9695A72-7CE4-CFEB-C6BC-949206394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1"/>
            <a:ext cx="11526836" cy="876687"/>
          </a:xfrm>
        </p:spPr>
        <p:txBody>
          <a:bodyPr vert="horz"/>
          <a:lstStyle/>
          <a:p>
            <a:r>
              <a:rPr lang="en-US" b="1" dirty="0"/>
              <a:t>Brand ratings: </a:t>
            </a:r>
            <a:r>
              <a:rPr lang="en-US" dirty="0"/>
              <a:t>Target mid of the pack on advocacy with a 3.8 avg. rating; Peer 1 leads with 4.9, followed by National-level brands</a:t>
            </a:r>
            <a:endParaRPr lang="en-US" b="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654E536-34F8-E0B3-A34D-A9948201BAE6}"/>
              </a:ext>
            </a:extLst>
          </p:cNvPr>
          <p:cNvSpPr/>
          <p:nvPr/>
        </p:nvSpPr>
        <p:spPr bwMode="gray">
          <a:xfrm>
            <a:off x="3063629" y="5259485"/>
            <a:ext cx="2813540" cy="197106"/>
          </a:xfrm>
          <a:prstGeom prst="rect">
            <a:avLst/>
          </a:prstGeom>
          <a:solidFill>
            <a:srgbClr val="104C3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b="1" i="1">
                <a:solidFill>
                  <a:schemeClr val="bg1"/>
                </a:solidFill>
              </a:rPr>
              <a:t>National FL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63732D3-0E69-18CB-2480-DEA5CF9B53A4}"/>
              </a:ext>
            </a:extLst>
          </p:cNvPr>
          <p:cNvSpPr/>
          <p:nvPr/>
        </p:nvSpPr>
        <p:spPr bwMode="gray">
          <a:xfrm>
            <a:off x="1277050" y="5259485"/>
            <a:ext cx="1731873" cy="197106"/>
          </a:xfrm>
          <a:prstGeom prst="rect">
            <a:avLst/>
          </a:prstGeom>
          <a:solidFill>
            <a:srgbClr val="712C5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b="1" i="1">
                <a:solidFill>
                  <a:schemeClr val="bg1"/>
                </a:solidFill>
              </a:rPr>
              <a:t>Regiona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F26F7F9-FF6D-B213-53E0-F34D5CF2E403}"/>
              </a:ext>
            </a:extLst>
          </p:cNvPr>
          <p:cNvSpPr/>
          <p:nvPr/>
        </p:nvSpPr>
        <p:spPr bwMode="gray">
          <a:xfrm>
            <a:off x="5931877" y="5259485"/>
            <a:ext cx="4657969" cy="197106"/>
          </a:xfrm>
          <a:prstGeom prst="rect">
            <a:avLst/>
          </a:prstGeom>
          <a:solidFill>
            <a:srgbClr val="712C5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b="1" i="1">
                <a:solidFill>
                  <a:schemeClr val="bg1"/>
                </a:solidFill>
              </a:rPr>
              <a:t>Regional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BAF208B-A27E-25C2-EEB9-840A8AF135AC}"/>
              </a:ext>
            </a:extLst>
          </p:cNvPr>
          <p:cNvSpPr/>
          <p:nvPr/>
        </p:nvSpPr>
        <p:spPr bwMode="gray">
          <a:xfrm>
            <a:off x="1221873" y="1802452"/>
            <a:ext cx="870034" cy="4381601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DB5BD560-D551-8B2C-7CF7-5328AD73FE6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12" y="950918"/>
            <a:ext cx="257175" cy="250258"/>
          </a:xfrm>
          <a:prstGeom prst="rect">
            <a:avLst/>
          </a:prstGeom>
        </p:spPr>
      </p:pic>
      <p:sp>
        <p:nvSpPr>
          <p:cNvPr id="14" name="Rectangle 1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kkRwkDcp+/igEYEdfT5g1hiCTa/4vblDh4TfRbgovM78rTILTQL0tFZUKffyzIT0PAvgszZF/RXENwUi3yLepH5WY0PybXn7gXKsk69/e2KUJ+hnzDSkuz3uU12pij9s7XZi6CKgcEKv3kQhtFrDVjpOhqNUlpSec3wbNVwdfiAgUzVYtXeffjxmUwZWBOMxzYjIxIQIP/RWIU+z4fdx3oOo3KBZGdlW9qXpcGkwnq4/28D0RsIZVF6+yKeIm+gBUBBQnYOGkfyL9377FL+lRWJLt/nXh5DkWgK0voAA8cYfvrmoIWLH36D4irAXdJHK3ciCmctitMmO4AURSXmkPoO1hdnXbH3BUV1hYSlpe9zyp3vJqFqKOJG+v1gbPk+WGhtpZH+CpfmPeOg1ofmtgAs7GaVLWsEF/o4Ua3NC1PsNO0k15+Thf0jT1BeLEbXxcDCAKV/Xy/Q4W/SWZQwK5DC9RkaPii4TZRXZuUojMCrnq8IetjFTlioMQC2AtehXd7QDZOOu4uFg/PU6yBNwCiAyHN5BLNwiq03cgubnDcwBJVNHuJhCghsnWN+qzt6ChYj+jXyUK19U6CoNG3QuwOZwiual7OwdvH2QYACkUyJf2dKWQueWkCgpS0ZNIZRJq8YUIgI7DAaaCceLYyo/XbnpciqCOOAgS1cC132WL3MpYmaEUaOhkCMtIknQoIDrLB2yEDGlCV6mJ5VHe1sCCl/4MXVaNbpELgMPVFSOjp0YIiN9BQF3VAFUF8n8K7u+fJZa2KgN0ss3qTcIPfBwV4A7kdIFgu/TJukuPfhw6PVZDbrqNQtKmIhov3YquXRI1GgJfP/NG/Eb+T1QFchC9Ctdoxb1t/p+Zz0/9RY5PUV0xY8Hhkr2ylWrBmnlRGvri6pbYgc+lcuC+TqIKl6nhF2PduldBunASG1os7uWIqD1KizUDeKL9Mz43IDYYHvmswzCOVRNs2oqJdvyDPaZ6GhHZadBBc5Q8grccB76TXN6hu2NFZrx6LneXYflbKRH+y7HPdoAa4B8XXhhyuaURmUbm+0MM90onznEn7vim882Oe++cUfA57TOv/4a0DKUKA8+RoO4cPvWSCvH5rt9y0YR8/VQRxTru/PMZjsFY8q17ZTRECykUDDWitK3+xMlTPUrv0eHW+Zv0vO1l5DyMuhlOpawCXntXZjDnSZ1NjPe2J33FjvjMsx46Wlrk3PgxutFu028Iw4PKtG/HmJ9TTE6zX2kWdvjvO7B12u/zOA8DzcOmPw+YoqeR/6O3KpU3QC53Rpo1cqLetSJ5J4J/msv2mz+05XkLjers6YqmxEGr89GSoiqQSvs+8pNt8l0avfEPIBn4eZYymX9CCwQqmMVIjkanqUavhpTyZE1tQObSD9Z7h8eQdROBfYHQCmESp+2DK0aoNrdgW2+J4WdFxDNiVCzECbCQjV0K+xOrxR4IeXXNLE6tcP06aPWSdBVCOl00T7HcjLgIm5jS/dfXxbB7s5Y7UdJikd3L5m/+o7GmhHp1ODkuRwfh8QxR4IffjLRYDNjt2XNpRQKfFXKvaISBCoyZZ8uK748n/ODnVyq4AdXqcclrQV0dmi9Xw/LpoPWPeaHWVuMYLWJy8Nyidzd+nuSRIgPh7hrWINuYtJSAcRv4j7AlRwmeVlSQvzgl0aIRHlu10G0Ng9D8tgLnPrjN8A2GcKVAr1elySEbrID4yde8u3pOxleYnAIkirm7JvXdHqm3x1rRhCTt5tAbBOQXzCCiLfNJ6lgw8QhIecl1+XzyKWmI1gVnpjA+vECyLRXTUDh9xZtS3JYGnE+lVlP3aXzMU/m+36L1ll4p3tqBlgKOPDWP3p03u56lbaYcaBpQsPPlaWpAG/ZsIYhKN/u5hQ3Vod5IjbXWjWwEPew3kvbwAQsHEC0cCclURJfW4mDPNSG8Y5WCcahr7gQb/3tt97poR06kRx0RaGLLCuhbs1tYbv55L7GEz9tobGKzC6WVxR35GBrbSiw15L7OyzH5UIlSsrZ6A3HwvRl3cXXGsRhUk3MERqckb1NC4YYISaPwXDbKBWlwr2TBlqmoDU9cDckUDW2/zNy9EEDL7pcmHU540vFkG7SEMp22GHsTyTrFT1ex21v0qI8yTOUuxWc+sigpFl1DbXKnXSGG43stmOp8di4Nz+/ULQTMlXh8xdskgcx9Voaeumx0XoD9Pt3qRyaiI1Snfty9bn5OiRLHQ2k+qDyfmv9dntWtiTv/yI1EbsUituCmUmhmNpsUJxF8l5eQI3ZguszbYraEcjxGwmhlfBNitOllOV2aQ+BckKbr/csSvPEdl+TeaitXWF4WrbWfZkvub6NFWN0AQTDE8R0Lde/GKtFCvEzjICPM3V7JSOiqr29ymncvelR1RNT11fq2qOT0M8ccyn5hyC6LDCfdxn4nh4wV+RXyVYSGoTkUWtwe7eBZeDh7pvZB2fIqtRMfxq2ZwgpO/+8nHo5xpkiK30wzqV8rrA+sD6JxYOhvsMkBC+/ZUfBF0y9CK9UQ/wLzMUeWmSdKkbiSFXfyt3M/5eJieBq99QPuE7OeKeL1t5QGg2aDnrLVS3xFDbWwxlxc90JdlzIpgseown/qa8ixxsj91Zu/UufuVNa4KxmY5B4gLP4xHgv0df2x2zL1N1atB2DurJIHaGE1oYB6XTtFv7Z255+xWnqOIh40s9Baz1zC2dwsN6gptYUc2+3xVLbQ1nnbXVKlEfgUyBtWs1gD/AfQ8do/nKkiSPOLLUI6nBroaH8O9x+ybPs6WiMY9zL5BXyLKeKfh9iA/mEw3OAXDg3L/kHU3e5P9KC3FI302JJToqjWMoD5IQAU7VxAbaKIhL89AZzeMAaWUijFecvBJqohPPwIgAUqELeE1/5ucqZxCvEi0R3zNdT+XSr5lIXvCh1liBRY2zQx2EW3UdtBraN0Dna5zZaLsQT483AmiKlf42NqbR8gAwGivYExCmwIZh2FtyIZrluzzl5r4nI7IrX/jXtesjnshUWjnHirZF3Zmd9ZEC5pE24gQpRZiihGkv4s0bKGm4IH/R305oBZmpavTASomgjISF2ABPnRoodz/Xun+kpJWd+An9cWwlj9MPYg+LybP/JECOyqA5vGfx6gFVkTlOLtf5huQClB0huQGOxofjR6AbtBee7ZFgXx6kWs91EOKft6SDMmFEiqo95JYPh7raw7TasZMDmcivWt1OzixHbBZmI+au8Yc8ANCgzcvNWjbJvoiJg8Gak6jhREC0RLyFEzxrw2qcEZuzzl0sfUjOZD/hpZn8fpUHImbYLq/pXvfagXYl1z55uPfQBb6ckwKzLkOeAHBGbAzovfpOOJbWsqTsIiDp5+3r/xiW+Irh7j+rY/0VpU59Qn7Vc4ltW/36UHUUo+WysLLhBMbTTdubsYg7w+0CgVZSQ4Z3usofxYDyYoqOEg5SnWjd2NaC2Iu/8rW7erUwRZuSX00Wdj8Jp0G7tp1vtxb7oe2NslSm89IZRuNzRtuuuKYI9rnwc8xR8L1PaKsw0ZzNvj4Ftc5V0umupPqfmwwpaX0s+HnKNf+DvRnplD/rV1NHIsXmLJpRpbnEAqYuWWJT67F8CTkJtE8CIrEluHv+E3ZaTyBHqeCE6HGhqEBUBQ2W6gUZm95ZQaIzQcCM5jG/eHkbLt+Ri8Nuqd6pkfH8pb2s3T8eU9cSY/Pddlc8sB7fe7835XsaZrDCofMRybn8Vor28hFUept0MJJIjqIHtEESFjL1fiabGQmpcWvSAVcgvB5LfPsS/r8xzYIBd9qyvWm3QfuHul+Czlv/OC5CaQ4Dsddu91LVq7Rqq2i8k4mRNdL5lQHADCU/5GolMMYGA2BbYijumzIgWr4tsApagRNUOMGSutIEJR6huRJ1esqsRPqcDH16NT/fYXchJ93a2wVNwtwGxDZ53ZKVOFTrgqDvSujiar5J3aGn4XAci7B8nH2mtBH1apiDG3Uw2O83fpEwSMMEG/jpWf9QZ35Jjc13pmmeGBwwcVMwusGyCzaBmtV6Vn018JwqBSeHcJZdI+KOEJBKIJ+eGB8ImEP8hBjgTi2XzbEoxYJ71i/W3YP/vvtguQKjfJdAl1liRY2oSUYjBjnJeLB5EeSBvX6KwC4tI0QrBDbwF5cNy/WZYHS7Fj2sHoB9QmFrF2XVHu+SJ8s0Ugodb/IMuSwqQgabKnaBBkNH2VT7s15ceM0Q1HkMdXJITi/HrZR/waesjfY/t39x4HwQ3floksuS1XXrhaWBucdub6dPtZOqcsyAHiGVlCnpriOYakwcKXpjAwnfIrDPXkTS0FHI2i7hTp1yDClAc0FvAsTXSexlwWSjZQgN4B0DhYQ0qJn/KP2h+RTB5rWJnE1S+ZbwDEraLMn4rukMHMROtUCjWXMLWAiwMRlVLgC2/xmfizTS0S7p+L5wuFwakVNvZGBc9RAeFC5GNbByI5lhkrCyXbdMX29ACw9DMf1Ugu2TqthoPB8RZw4WCV4dJOTD2Nj5Kn8KNCIG94X7tmz/vauMkZIKP/anFZ7WFCG31k3eO9OHoSIHQ/faR/L38xV1fe7CWRbC3eUiv2hHIP0zLIB5nK8/7o53oUR671eUvMlNcrmdG840PXuqf4Q/axps7OGCdKcCRiaQQ1JclMOdB1CewMBW4nhQhRcxR5igHnmwZ5+GhVelN7K6tRhY3L45qoGJXTCWRiJCeP59KrZtmdJiYDV4MkBGVlgORybOo+n90usNHDGNpYfLnoHrWhWn0zmnv49ZDl5yc8z9rgw7DxaaYSfbxu+3VMrCprR4KCfrqtHd7dmSZ3exGpZ7kkwLuzEhV+l1XlcSodhBXYYkxDmx0OQN1PEXId1Tj3En3pIs2dRmJdxXK3qCX2KOHM75+WxnQsWpXah5ulLwV7gvF17SAkVkT0UTYxtXQyIwFDcQ2bnO1F/bbgPF8xquhzUUT0rN6bFFxqGWz+pKhaN3zm6DCPEqxWYF6moZZggSKG0NrKC3gkmqf8TnVx5ethnJlgFXSqqvfsfqk0L0ui63el60Jpxtk5u/Fy00SYKxr4XyHcJ0z0idpJ5Vf0AdJsYIRZFWVFiSsXf1jKTUMfmk4XW9kNwpbWbUzPpQ47onz9RmsDd6YWNeaUCPuLlOOLtQWkKxCFQxsI6LKnp3GPiRprtdB5LBEPYo1JC0cu1D2/WY1Q8WtbG+fjkfNGyatSvGJ4f88beJ9HdbtzhMSg+E/KXbMEdovOXesQvT3QVCRZfzri/gPT7BTDu2k4A9e4ZNZBjyehagA1rhILFhUKb+t5sB0vICsVUt5tGc+q/0I9C1Ml0C2AkqzLKSVzsNMo1xhobqcqieQPUclY7WIZ2SJeNdMQva2jQCCQi9Mgh/n4ooiBG/fuDgHse3fyxX4UkZT6sQDq1GttcuvuDxLK4TOKT7YsQj/Z4PL8DB3qiHLffp3FCN2mjmXbNnQ3xiUk5sieYK80mGa0HMFl0dxz6MxZ3sSyP4fMrYPT6p2z6CX+pk7DRvGOhNUgGdUWdBRkv5b4Qw2n50QWAGSIgYCxEijcTNZA83HtpfBb+kAdkmL0VgU/yPAWVEABFZkmiKNYyifUMd9jT8YAKbeMiS0/u2dG3toKZ2ct2tL0WqQL0BH+eujCWUHQF5K7S7th6DHs/2WdSVTnkjRrgtxgH772pX2IWGxbh1uYTj1MhKD/8h7xXpe9KYavDtGR+fPWEk3xLjq0WKz9MIX+3qnyZNFey7m04aa97K0RnqXgoRy73+G96IbWnRptf+Mv1F0irjb5L04uqCgMaxEqvfMoW6P9zvQfbVsAIO6UJkmnExg84p9OnBy9Dj2ENywmGZXOH3xMmpSfJZgNQnomVGjY+xTy//i4jyWDBGRUA26ps/bk5xnpHG+XTkDODVKrqZC152f1MsSWDZnDaacxva0GSSJnMzq43R6ql2cOrIAPxwMBWREselmWWwezuS/wxiL2ijsUdBCDArDCmDrZl+YeVGHAynDggZM4e9iqXMsuth1N0WG7r/k1gnqWQs3Ug0yWGbAPlaN+iiI9Hf2IHO2fgvQyTEgaC6ZfZiyBQ+JfmKOJ0LV49Ipnhcdxi1mSolqkwWsVPnukzEw9nYhMQecVKjaoVaEQy+sz4/m3qmYM9qpc2+G8feI5eRi4Yw+Kgsofbr/JeO2jLu2aMQ3U1LG6okK/JK7z3jRtlP2xmSZAF8z6zzek5HxWxC0Y3QFIltqiKpjFIEXS2gbMfforKCU9yRQ5QldvulGOxy9fPU/jfXVympZFfnfJnmF4hNwW+/+NBFPFzEEQjekysnH42ozo/3p+apScuRD2LBvd/hYJ2SxYaw7kxZ+SaHOeiBGSDjkj2+0ko5EcV3Wq0aWy3RLZLFjMsqEweeA5Bdmr0tx8qvTO5xUDsLKlygPWYzkc8j0XecAiQ8hcmO4gJsC9LHSDm9TCBEwm3W+eF8ixWVcQygWuP1ou7TMm9N9eVVNW3kuOg6acBJOoMzpJRqLJJ21HYprKiAe6YrfHxLnF9IxPjUz4Q6TXIvt/f8GMtQwUvvbrEKrmPdJhQT6wZ7gxp3mS2yJ/QQRM+oE2+PinaxDrGtvN4HTnPg09p1xdlsJsx4xBXSxjH6l7Hjyc1OzgLkYxoP3NSXMsswCFwFl9C6DvuMe8uynGvNxDU7nHOHGX8eRkTjk8VVm7HfLsZRK9+I1PLvY9IRRkCrKhAGUom8lDQTQ69N8PTtgPkk06S+biXgtjFDOTPtJrHKDteNRHY8WF8CV5ZmuexvYQ/mRNmihna7LdWIMSH6AonLm3emSq11pX70061/gJuwOlj5fKfYLu3gI66fRbMrSIXQqexnnrbToJX5KFX3fpqc0YsY4Wcu+qTlpiL/Ah5WieFQJqxpAQ/ywn/2UPEgItyyGasPQ43LXV3zFXI3+znoOz755vxH5SUgdu+9W1k4VShXPz7eoB9RQdwSVNaMS3bq4OVuuIAv+A+mDQBc3L3c0biAlXvHriGEKqzBqB+LrVw5NMQ9fSzHG0tHlODyCHex30lbr6CU1rXb076ZzPAu3Hj+pwYoYPxHEu2MYu6BAeg0qYiDmhnnGqKvS1eZWJdDPKyx7HF3zC7QE1RDuk2JyyhVRkGq3xH0ut2TXWW9uOKISugGYcN4yz/H+wGliUn0XHqNhzfaD0cAyZ4d1vsL8Wbv98j5i/OauskIJDSEz5Fj3PYlHQ3T1PGPOxWygoaSp0y4DljEA+vuyyKaF8kYqw+xTd8Ad0XdGtrntX6x84MZFgSDmQrapvZL47r+AlyrqMsEvwCg+vCrTT2GqmXEw4/svhtrMvdyh4/e/2cScCklp4qZ1AwDkuGaqhOk+pqssEUNoHishfV/bU6pitClXaMQmuBtcR6BAhFOoVG5sT4+9/vgIes6ovYopZ26CH87RgpVr4+4LWyrr479E50xpSbLYF2s5JceLHt5fwko2WgEyZm02AxhUJzDScMw0UHO32Z3AdFrD0wPmE4eqyivuCwSpsr6HZyjs2DPELJSy89sQgvU0JU5OxqWIwH3WgHMYzDTYpfW4zCsgG+Q266CdBAY+jjOhATX2RrK0FbdR4HYxpPa3esINnlcxRdS1d/YsXWOpHJG1hWmiciQte6OEBAtPmBIup5Ewdk84L5QHFnjfPOBWKIXCpcxMzVqdbkIF8fPj2EfVCI98Ipwjw+yvgc16q2LczJ1BEFMgo8UArLv5E5PYxxiAU5/ToAQWDGMmlirRrBad2dzUdrkOlKkIlpaOOhHN9egY53Qwrsoc+BfAtxoTfoAxc5qiDdHdMdkN/Uhqzttl6Anb5VcVcCzgh0dvXWO9v9dp05viHjrjAL2KpAP3UclmzI6qABUq0Z9kdduXP+VmATsFYyV27qyEXZqYWoTukLG572fi6wnLJpUUTawD44o7GM+g5G1HWdcs2QLcr5WNudMP8ptsse20FwpIAkGUSGRztIuLCh6xYVUEnthtA0TDSzCnlDCP/J2uSNuZGSKY3UX8t+FP9hgm9nNBqygJdMfFkphIe9UHj8yVKZ9v2PGo06AG8j7nvgrpbsVxfmaSzpCwKiim/JtrB2yunyoUgTNhZpFGgj5NhnYRlxjU3MdltRJ9ZCFapvp6PFdoAjpWxJjCuosEs3bdJRCvEU77+LJDMMkTosAQiZpHghmi1zklSikbWoDafThrzOFIoeaiq6hhfEDiCCb2AAYz54czugY3buK5nhyBJP6eKDtVPK4p6z3qYMwHpUOZ0VPzDUqLu4Dtij1ZY0Y8n46udsK3bJ16HTRZwhh5oF0qrcZXY8va91vMFwoBnvXqdRYJupmp7m2+EpYAZTCY5utQsvz5ihUyRrhV8u7A46HbTHYDSwJxiNVfKRE6+i9OetfGGUR4VG58z94ixp7C8NyiXefliJ2Gm2bg7llCQIKEdDiRyYpEF2GaIPL98IcJYl+Majl0Vt2jTq/x6w4AMuIW9xc5U175VFVxgT4ycS36aY5EwARyJbgOx91Iv2vK8Zwm1ow7MVzuua0oCqIkOURom7Jlqdw7K27mQUJkZncKFmRmCoGPcxMzgOWTT6OkWTlmU/vdjlOT05x7Fdh8g27KU69d/THMGJNJfiIvi+JRTEIW5YZ482GFDVkzO0o6OnIDl1LI5DzeuTTOj+bKfwiiAoy8HLiovLuXe4+GpVf+xzb7kI5K4F0+hUoOUUyMn2U7VSS7L61JsI0TV1Watu2bI19baojKPZtjy8z6+uNkL7t9uXckKgJTbAH/G7iMzLEOg/VjfUaAxA1TwV7do9lFc4wh6/7ruJBSSJ7YQ2+Ofqde4sZhrlx/aJ9pvH/1rknG0rmbmTBo+NPhL2OVE9n705dCZK6okrHF3OdQxfpfTjbkIV4HksZJodzKerem4rJ2lkPX7i+BIP21tdYQ/8MDPaDrhigbAG4Cbty3D6R/lPPQXJE2epLZ6U98GIwG/n3AeHqwDnfX+RCntGSrzEN3a79h5ilw/WdlqjswDN5K+anZov04MeRSJFCABR3As+4NNSw7qgaOw4edFbOQ6UgEAYukkTd1xoxADJ+GF8LFBp1NKg4GMEMNeo5TxOxmGE7O5d5BgO8fJmZ8n6E+kAEQW5Sy3S3rHAlGSat7xWjdx6JkJVklQ5+TLyCwKEFe2k9ytRkvtS2qEdVNg9dPKVZ5zPjEwO7reILMgdaDQmSMbu50ptuCHiIs7eRNBuGrO4hrQf8RfhSCJZSWvSGWkezTkBlqzsiK1XWjsPVrQLbR792AnLrqo54LyFwNp8mj9bS3U1l9u6kft4bEzWF3jese2OVD6EKawgYpxNElKJAYGTQV+j5SzePzvrQHNSqHE2ALqU1jfnhYHsgYkvQR1ZavqIIXkKR9Z6TbCh5d47236mgM0H1w4u0B1kVBtnJCxxdYdL6GBxgcGs5J9hgRR+UcJy/M5LykoxWeXweVmtlKzmu4NJ2TKjtBeQeq0SiChchwZ8aRA3jbOpRpW0obZWja4UZWMbjismDZbaCmR6r0oCCqKnoxKgQF4MyiUG63UmWBtrMR1rBvAfiKcmlAL2RH5UeTKO3W11YYO/ePokJfSgze5hfkUj/hWLI9fXGfVMrmVZOAyiod2xrgWWAgCT4M58TnnWECrs0epwSGs486JRfie3QzNLa+ImaU+6gC3VeAbIkkjTvdwNZbcl2ExY6enRASDvpcqiveLZivEXprKGYJWkRtX5tsbUIWUYXUQ8SE+ToLSMwBYtzqGYmnHbvLJHOp6p1rqP/4mPhxsoSl0O5h5djz8ATspudgjmOkYZc1SvowC2nrs2yjt8/jBI2hyYoBeKfshxNfvaRt9r3xcOdZ9BxYAjZNolN4rIK/7zrM+uKkr7NfSpWzd2uTQJ4bu0ZVICFb1Wul413NZYD030+J2axAK3EdZrHvYTcTPSiOTDXDcVQi2XpJKXE6YrN3FRohyx7h15CfD3G3EKd0wHkFWiUCbwVQ/uNm2JHgei9w2zj2GSg1OkHYeovyGywSPT0REpGeWp4kLMGN3hwVrGEGRAuUuRK3Tw5gv/Hq7rEK+TEhl1ln7+GtTJ+YmwBi+7oOrQ7hS64EXJEMEakWpnpxxBPWdpPic2O2B4gJkxNAen9vvfYGi9EtZ5gVjh/VTwKfBgCRcrBCCsAlyBNjAuOC+H65w2bXs++6KDRVElWc8lI89CKPR1lNAJGMrvQ2HnP/w+ft+7K4KnXyGIYtGf9nfChEWgy8E0PVCSILS3VozJKdEAQOTdvB2ffjVF0OqkBpMcNCOBmdTfC9RhIDywp03bHkbQ4VH+fQKFG1kM3NDTNvxmOYXF22U6VuKfr6GkyMlZ+nQNK4hi+dFmxR2zvTGO4aqDH4oKzcsbgBZNiOVRLTibGMiZgL5lhiRtJrhaA8xKj225xRkC7ubHBcrwkT3CkpUlq+I5yTJGVi/VeqRn1YMTOwKrNAMSeSBakpZJCQ97N+uBPF+zWL/du2/3gMVsTPtgSrmcoBmbu4rKVVwfsGTTakA76aTMdaIZhjI2B7q4B5ZUO8vGpDp3Yjif/E1S8evcRRAD7TSx/k5gCzy4ES8uX/d/tE3HWUZ3S/1rjhujLrgXdoUrjIqxARj00WsrqGw/taBjRk364E/QInTsuUy1s3gqasiL9QMK0TKXqfmFn2yxr3IPEs20bzlzRB21Q84SbLqctpjAE1a5oGTDJItRHdsq/N5n9L5oSlnEsIpd2dl3OhLPfdKK6PFtuYaTAaNhTHVBfkAj6dEDuMIYTnjsGrWkmzzqXfvAN8FQYT+vDxgmdlQPfaUkrkcMSYvCfGR5DyP9FfI1a7alJgFNav+N5ME3wsGD7zaxp8tLsyoeIlss2wzOPQM+vNCaTHdzpQRj0OjbjP/KCQXY7JHp4hsSoLGUqs0rRaUeNJlg61Pvd5jP7r53CORgAYkimEfV3cPf7cA8mTTsrDkrstMG/emUgPduJlaTtqx1GKNbe11KygxhV3AEwDl3OqtOUGPw8TEDURnKtzhFyIYJdmqfQ7lVDHdhs0csjqr50XmkRy/2SU8sRiEW5MbmBHiuc/fUpJuHAxMnoswFhLlENyNQwTxYJUzAKPhLEebPwgGZ61Uoj0SADgWvceY3L8o2tIov7hzsxJA6kGC7sYeB3aCsWoSstUKAEJh87V2ktlWRRscD2GzGnPC3PUv3JWvDwYIN+JHe7RJRrxcGY7yTPNDfKt6yCmZzKZmB0NYb1HHaTWdQLYS72FRaAmQlQkBrSk4AV4e0/CyhThBLJb9nj01VjlYeu9MLaMoMRv9PQOkOPUGVmtEI/0rcjryId3KUuubLvlWhx4DPH/qLtH27IYOa6PioK7NWaC3hNtFKcb8qOZneC6hsed7mTlVd5V46OpGCNz5R3AxheSMCbWZdcjD8TGz6kLpnOUGqL0Frd0ZfNdtIbUljGXWWL3Cl0/wvd0Lr4ba+tPPwCmWAhj2a/7wU8Gmz46zOOvENhaPmNImcZroanuw6rPpHTIsp7si6V3iFltm2i2cSChkqnSXYPFzMcOnbKrhJDvePNpxQzOel+FUX3gHlXv3NNugx7VkWqikwJ304U6roDnS6BIe2ekxx7y5sywb9RDrBCcNPgcd61aqGXQCrB5gb/mi6CCr9T3+A7s6LIYGFbTHQ0TiENsYdGCDT6JAhD9S/i/NLW4sZCDQ7rdF60vTnM4pKg/taLRAVLwLhn2yO+64xsPiqdiiuSxZHupQx054CcT4oXgPRsjdnccNQ/Sgn/c2ek76G+38tWAdc9mh3dMyK5XtoXzPgtnFJOe3q2pbl209H2z5IhOhb03drJWpY8j1kGhmVNfDtvjSuwcWYjojxrKal+PzFVeMp3XHvxiEafx9ZKrPll/eSU4sZlHXIxjmaDHdXyVPn6zlJaDZuOo06Qt5vkTOdrCcDlQRGvxbDAh7lYpRviJG0we1xrSsmYFI4kIaxbOw00B7KwtvuYS62WZSzI1GQK4ZbJu+rFzm5JhhhL9ED/kjt7dpjHmbYt3pZif7jfPjG3Nw+bnGYrgoa18PHEdu0kaxeR0MUeYMzCPUZqky3Ov0KztiloaXXal57OpIPF32e433ImXPni+u31Ik8cQRwmS/bwo4C8QXIrU7g1BkIyzl+N2cgg+Pu9tEXgOvbm3c3gezZG/JQia9Vduw/un30ilOEjHRH5eYP9CnivCD4CgXFymFKaG/oxoqhKx/uT9uVPis41MX8mgu1poYuBW4yfaGyW0DTxrsenZfVT0c0SGO7RAGpnJJLSE0syc4zaDSgUsUKlgLR1VDpMGxQkIlDpQRaP9aUUJqnln1jP5bmQMsme3bZ8h0TAdSpb7HZEm4pc/LV68vdniX8RC+s2zeGfFP4qrLQ4pLYwrFiIdEdCwgmeaQBgAwQCJi+BpB1bQe4owT5218f0tGLGp15Pwoou8HzmrH/zHqiXNSGsrc7lBKEy7b/sOwlqEawc6csSTU2V5kEit03IwJpZMpqzWfRvpSATggZKSN5HqcfRKyK6gslIiF7IO9UAWA7tnj0atFL8kaYwMLuzQAS+cAqDn5e/rbEKHqYSyF+tLHBm5B2dK8eoJmI9epPgLp5T2iVCusPaSbzBvAfZOyHi/WWH58mqfhQSYIdChKK9ezFhGljPuC9lRyASeRC4HJRhSbP8DgMry4nYdw+YgBxACI2LNOCWvb6EBvtd3fEQ/W/jaSv6rTlKAQYbk7H3CfWABqRLmFhZAxmutzPdDrTKCIjPh46mlL9jKDcPwuzP2Q6lIacYV//iKCp6MOwXVDkEq+B08HjrylgpeLWQGYgIf2avToY6M62fnDWSA7HGS8QhchvvvrWZ5Zmo8akGRaqluujG4LveiEY6kp1ITyLULZNNOvBJ7Ppql28MY6oSR6y+28cV6/+8N1Gi8GplgPCWlT4j/Oe8Vbvbfct2ceiaLFBe7RctN1pj1GBKGwszY93Vb9AuQWGpk2uiIQfkBMqoYb5pwBSQ7zJezAekSvknSgaNpb5TrGUzWZthIaVv1pszgyId1dPV2x2cWYx/7zCCRdWp6EybVdqMdCWfReCPEUBzkh/U/rLwA9j6JI3iw70B251IvpNTkWQiWQAE5vvWATa/RoRESKChv86fm4K84FMxqa9O+sMA710Jq8AskRam9KaXQE+UVpatTDtrRgtKCT2O9SFk/wZi+/y8GnFewnv+wx7cr9yD2KzAMAE/hAh/2tGPV7T6Dydd9gal9qT/XigtY3jad+xlcOPubJ/oyM/LkN9oJ51rwyo9qHtseb4xcDNA8FfmMI+LvJ+hrk1H5NiHdQEWzqI0w4Onc34DRYA3qQVsTz4fSiuPGCGdkyXtrrNWd+kgh0/CR8LlNhbvK6QL6meJCNfqH/tV/oNhVzXO67FSiE+/r+SBWVGqW/Ks3DQAxJq6D7k0BKpIG1D+Tbp0F1MV8dixZFyRAfZRwSC8N3qqS7/nUxznXg9g0zu+rmwxezK5yvGw/hmSHy2tGxKOR2P7kZXJDKd9ZlMpypk24oUgITqh73x5oya9z8cm32Pcp/aPTDy18kOAWkFE2T4ze92Tptu4VnPcm3HB/dNgSyEqwH7Zvo3hAz/y1incTUHwo2njuvTMrrKnUqkWwHTcU7nXNDVDBf1Te/GeeqSNMlOlfXsxQn3BxZO5HfBkA3KzBW/QCYNYMlYhx3pTUdcUg/n3AOOGT9m09OoyQBvAXkL88b4FneJMzfXe3Cw8ftUXCC/ZTRpsZIcYEIOCXyBW/VebDWXh0zlUC3Q9jKliGt9w17fFvTvEp5vxNW6OmWYrM4mb/qIfllqZWXSR2Rf/NaMiSLWVRATqN8T8Ip8VuMcqPjJAVv0Meru7ji1lvn2SQ6WyQ/2S3/MQgRvaR9xUTy1T5PS22rPe3xkUwLWrbPIwRmTm5gAYkUjsKc1ZxrPyokSd47LX/SAV39zr7jFqcBvxW/M8BkxLCQFfWhDWWXXJxfn//4H/F3xiBC9nqtlhqOiNmIcD1MWl1Zpg7AlGY8E8rbjG9a/UOrD03MTe3Ldaz7AUGiqKUpRLqxRNtQJfzw6x/axGZ2LtWmJA36ULNMWAiEgwuI/nFDmezmiMRvWqoBmzNGkYWhkKTs2smcmCfi4iShE9EKyt4zjQwQXvHm4qCR4AqNWM0kjKc8rr3LNz9riHW7kitCFyJxOuSsduClIfWO0FJBnTLCk9OLnpU0q98ffzsTentkqMVWb2gpXulNpCTYbPSNNbod9h71vFHJ4erWW2UR7FEy/4W3nhYkfGr1+u9CIiRBbss/V3FEbGDvCrEIH0HDGjuT7YJkblKRh81cMQ8HZODKmdN+5j0u3uzcCPGr/B5NbLmrh7cSXAeNplWblY7mWJME9PXF+kdz0nrsX6faPA+P8ZQOksqBp5CMXTTBf80sfJaK7uM+Sd/7O1FUcUK9QOA3qQL4bnVh3pB8XUjyq3q9Xx4alQjJbrezQvSX/hQ/EeTVbSBlHNCuaVU2+iOu4rtCyRMZT2FLvEAh6zMS8FURQiC6wqXG4sIY433VnDD8Gf+jf2Nn1MYb3fKAC4q4fc5TKHVpWJgcQJXHyl5ZbnivVgwI5jvSekwKlo2xPe03BA1qUF4fM57YfabWCfr0bx8hODSGj/TJeH9P4MnpoL8hZA5faHh9ipZ2HrjrcB0VjTPQ8hPGRor2gAbcNqOATZ8O0pyytQ0SBNSVNM7EkOU7NbZirLvoNbSGH4YmoWLHk4w4QWskvMy/VYcLiVtkxiej+xt7dDXBzCP6mwSBwgYvHKRTESMmCCY7up8VJl+znpj2PWdhg8zWOFoeMK3dS7bSx/SziNKGvmF1qLqm98p8LA5GWeo7RaYZ8SxpS+4tvoNRGJGSyGALUzJM0AkQZlvPgQ70piN47VIlLPecpnNeDn5EPKgP6xW7Twhlcq/h5QJIi7Jw2Xz5fCMbnuiUYYUzlj6Vrw6uCrC70tI4J8nUyAqoVwPduOlhboy37H3ca5NjXCBqWphU5yds9MTCKZLaPlhSwBCjp3FaDw4M4dsobbm6miZ2h8R1lg645qZeDVxJCCJhnJN6Xc6QYHnnp85lrR2KqOICsjuK87Qrs08DrpDIX2LnlQhF33K1VPOKuq2kVtT8fHC6QeEH4bCluP4q/Xaz8t5aiIoR7fHjE+FCc24LAZCil+u1GhkNkxeWjNr1rpiMZmll9FRLFHpbEWRJxG6N4OXD2EaCGYa/a+yxwLR9N8rvNzTJJl9GHay/3tGhdZxn1GBvqRaVrz7hz22QUv/vbKHmV0mva5dPwB/mb36DdEo0Pz79LsRwuxJktsgDbaOIxvdAaoqKZu2hOq8FO5trzU4FNMXPtaTrVw24BTjqPMNIUaGs6H2M42leRxqDHI9EKEE3oHHU4WGYTDgstu/kGOoeo7rK6Bg/tOzQi6vYgTr1+NgAv3JS5rcgr2/dWfejtkpkMOc3nh6JCZ2knvS8PXZkl2RZr4+p8whBH1a+MhvI+JyiErL54zcM7Rf+DdLe34j9WJEDRx9+O0GXQ9DZD9yRogkgx9hdFxLLmrt5Qj6hrJVTsyBL+GqarhSIOZEqGkf0zvqFMPtRlhTV7yYEsxg3eBZ367E6Kf7hAzLZ+J6GNozHFHGOsN8K217fU7cEXgapP50k3ND/jxsxqhriAstV9ivdzH8q++E8QhvVm6DaFoDiz7+lDbADfCrlSUyAcPPquJ/H2GKAF3iYxUUfkvyrmBACpiRe6UAo3GzOlvLxUqnQUxRuocL4haZSr3bK9CTep0ouai/vK2Vp2ZlNVaebN7vJQyVVnxpw2SfHLVwDmZXUZ7r4bKcDx/9A6S1N2naKdKoG0tkV01Om0lgn+fB0ayQyihZ4q2Tpcl0/Yile1DUokWOJnWf79vfd8YYERPtkwPxKlJchhofZ4BLUqA6I58T60nzRcPLPy0lV7bDkPJXXQAQj0FMiYRoR84o6VD0ul0iKENYjcXL17fscHDWrNDI2AIk6cZIqoYce+MyJ9Tvoy3WNz6eXZ38c6iMpkyUQkQQGV+0lwwoNQCtbs7K1NAAIO+fPK/c1ExZrFC1rKTltBrMDkuH3XH9LgJs2LgZPqNPMk0fBfQYHgNbzSCPrKv4zNML6/E5IRAdY8kUjgUWGS9VFclrcNhTj43p1PjC2ZXY8wi4GWxvwMT3ZjpHvGMC2Y14cpKSF0pFlFhhcTuLOcVPKLPZ1exLoKyB6emO0yssNzNqgYJWLXDY/sMqazg2pEcF2TxBXBhPS6ASLi19yF+Y3KwMP7TUy+EHkKFr68XmbeYXxfTZx+f78tdK0PMkcZtZRcPYNjeTMvs3cH1Uv9ex+p8Fu6y+9/p1D6CuijLxgt3Nv2JhXoriwji/Ai4CsHguJLj0q5aOHPhXgFAnQUUQo8hCo4oSrxQl0IzPR+oVYJpbh6Yiqt2iqo9BlNhcsOEYw1WX/dczG80oovGSGW0oiR7AbJnxvaVnQ4yzU2aQgShYTFLNWEUdwLnSKeDIbND9HH1/TXvG2ChpkDJqsmP9Z01aDILce3N2Vx98Ty+CSlY1S3QSA75IY0lcDxzVmZqp2a3ztPS0JFydsN/Nhbf7BfnlIkp9sC4nYW0WjllCGMdt4vJwY8klXryikmKDelXx3KQdpMnuzIAw56VavHmjgpqkWsVEXzOWmJXJD1jlZspJOst/O6JlPbzGZ+ibSDCfOux5qunlGTKpuq0pXOYPXaPZ3VfRDrNNkLZdVwq6EpexuGjLxpALDw9Ug6U1EFby9dwoTZzsPdrsphNVkCkMozSaQ0Nxm6d0Bol6xvo4yTr+WWqQmNoJcXcwvZ5KwLUeT8Ze9IqXZX7rdUmE9ZNdHoXXJP7oR8GSR9K3FjxVP+O/VfY98BeNYBAmMkRNHo21EzJujMjrZxaYLPs5d+XKkXqbcPCCDD2vACeyKJeajkMTFHebzdFLNOR7/aSqbP25n8AcpR3UfqQdcczSq//RD2oYRgKh9qHVFYSTTRL6Vn/TdquNj2E4Gfhk8VXwGlN20o23BfAjAdgWnuKKnV0k5RvSF9uTeS3JqY+haYCEr3oAP0BnDTmOk5IsXlOyEBgEiqL10/3Wf/TITO0fl5pfuwtGnCaY3SK65+nGCYhCphYRmMyeIynd+sLD9qn3nUgv8vPYhQgvKpEmc/fxmxotEhbe8HGC3dLivX+++inQomCUZMBnRlRDOEW0EfO/y4sf/FPBv7k3Qoedhl/biyLFkwxUTdYHdMmshdswEaRbmiRQTxZzXS4GKWygh2I82mPQcqPKMOM5nQ7FYmBf2apqVww0Kqu0i087CGYzv5uiHFR2qKE8cnDF0rK/7AkI/OYBc5WyTnnzzdg9YRw92SncnrTkM6mkjEkKRuMDL1S2i+3dqen34cPUcCnrPKJP4f82duPMDjITLI0jRnh++tRRiavGr75lxzfHDmJEUKSbDiwdEx9YO2AULuYIj8pzr9MR4vh+B1/S2Nlq22CWZey+7AxVEKO6+iY/9qUQYOmHAk+9oOdI3rH4ecEIJM6T9hp7/gkni0sAwHTO1+gIA/ipUJNWYlAont9DSPWzujILMzyCvU/lWr+06dXKrO4mVdtx7Zwli/oA2LU8P9+fHTsjBW2dRyNWLWEeJwQQ7FcwhjCRQReXnljAoblo3wpigPqVNisiCfUnoh1LvZ405cwlEuqb4rw2D7MlXFBT8Gu68JU1lZXgl5Yt24QE2PbKX9g6niOmFAXAdUsIUr0+nDPquyLSJuioVIV5/Kf5VT7w8Kf1P48JGyzBY/HJswYmOqP83xaoz/n/uydDmJuA+ADV6hDMh2rojKQ5ovlg4YFdsNP3vs/8iS3168DgEeTW9nGpP34JgYF/9dXuu5+WrvHxXn5D07Vfq5IkMDHk9qyWa1Qo6vMZM/ugDXK7AsWqFFT5zH27eFuqFJEIFWIUCIig0iprSwah/aB8nyJNXOCvHpsX/yHX98jSXXceInxwS1lXGOXW72lgIlOvXrJNfaEo0udBdANLdF1zmEgDlQZ0ZM9n9laVmNPK1I2rZieKlOElOu4pMRq1KSvSu8LJrE0JUWOkl6X481pb0RPI66lCrO7a0Tl9uYsJAV86psBEMshzr2cMeDgVCqXkVIKlngLT4/TZkYMTkykb3fNCsR0VEXzWTtOmJqEmDE7xnCgpZNVGhme1+h5Huh31SBFAUeooYrZIZLFeYvZhdXcXcWPUfUWJzKiPVKA21bN2hGM6LtwRaVyPlQWFJB+u+5Ubko/7R/ItfK9Xk6BODetoj5PTEHIP182ZlQQxekoQ3FrXoQvO9pANQYBVScsV5Wod5ozR/VsPDpTLyrxE5sgcXNg7Rls7lqvGM2zVsoOfzrNaTY1Dmx5l0IahnzI1epF/wIh1qM9uvPzXIq7bcZ91RXAMojaWd0QvYRZgpRr6nSdUvpMAtRQQMED6BZE+l/tAALso5dkeWYDg+n6r1bs+66Pf9O/4fObynDPxH1u84Wh0D5XIAb9xSqEQWp23Wlvweogof0XCJrEvCiLIFmcI3bK9Bi26/0x124NzraLwpivomFczcN9I3RIA5+4ryE/gYMm9IqpVQ62pFrPJKgRWRxFtGSq07/l/whUQ4CYTRgVSjlpcUoWm+2n6fJLSd3IR1dkgN4TfslHsZZcc7dExOiCgXIVluLbvWHZRPHjvuRNdNuu3DkduDSWcTRfiaHeUcBpt1lEQQ0FvMBD9FO4OL6U1uDqj8n3PhOj3MuuMxvPPJpfR5b0LMk6gKFVfAqDp7o5t//P08LkxWZxZfDToEUIbL+o1AV+gYn0ylYRYOFNmo6RNEyH03dW75p5jRSHkVa7/j4vJ7PYQ1W3CdcOO0OR7sl+TTCeNHlTh+mRG+Sq3jkJYa1iJnWAUFnY3Sr/xHYICcE1LWMwkAl5EBeryny0mK5jxE3/9jOIzOClTIotx5QYlV1yeQzfB1yqPOOS+MFxrpqBhHs4GMVwqC+9dONzUJTWkrW/ZJJB8xLiguzGgdSe+9VvIeQiwLF/hEkMu5pkkc36g16ibwfsf4/JstOMOuJ6w6dJtzaOhCwmkfZnoU/8oYE5x80UcEEaR6zPn74rJTDKXQgN3WSMxsIu+WHS26RgbIyNEHGZmsLO5iHt/c/dZr9G0yICGIZhWlvcuLHCjgM6VU3bGmUZd9RpI2S9BB6RvugH4N4gvgF5JV+s8XQqj6QIVSYz4t9Lvn0QDycFmzfU07e/DS/AAir54cu3B24mziFjDR3PhoiCk/jo1nvdx8p+ZqFbQv11lPM12sk9NBivfDo3DLA4UhrpxukHaKBfgsn7VPLrAJseE6OBz+6bz0Z4wMMacgGSel9Q+iBJaqEF747oT/KuSCifD4zMswjUqswqkOaobX1lFZ+MwNh9qCXVwpaFvQwE5oj/M6eUcrIARr7khkWLN6tbBjV9X/LSX/xrVLCxM4x0rbSM0R6qVRpryjxbAFk8mCUYm09BgkzQXKLHu4P0TkSu3kqml0egQ7cDLtl4kitDTMpCy+rDSmkeHdvMp6A05IPNsdyQsKTwQVwhy7WfBVh+zugna2u7HdNclYpPVWWzTEpP2/Mgm8CBanKE4J6HMgSLLgUFvEQBZdo2F/3bcy0aMNH5m/SHDVo3RcHc4M0rKLE9l6UWN0xQSdajA16TSPGLQPMKjlJGwFJXEsWZ07PT/hDoBI9iK5vbqfup5KbovXzpWBPmEshqgPLJruRKc0UTDbPIXLA1TMeLsRVtmcVpEW6pelEV3TzqgdLcE5PHa7tBBxawM+hDmJNoCLGzvOMyrY1Wv8Mdc9/koMdOY9QHlnANKF1uuu/D0Qi3I0+FZw0AxGo/ap3GLw400CEST0V/Xkidf1wvx6sIdU7Fdo3+c9ETkCY3JT8V/xtBKTMkUcALst/180o/b4x1NyCg4PVzGmcBJA+kb1raQFHoy/FOuZnJzFjRcEryualgoGdeWXzp4chB1aPwo4OHYlWqt5yCMnx1fn78WUgov/ubWIrE4jj/FRPrV9aUlOWuGzG7t/e8ogtIZB/0DpBJpb4vP4PQ0wW4crbXt4BszYaiEKV9sy9cyqXTY3Bma7NG6je8ljvFo1XMF5accBuXVA/ht7Rqtz5Ni3rOco1phHe/Elq3qWmnnS9iya7ualFc6aUoNM1bAI6FFg7De2607Bgy7T7vM0et/rH9UKzUtRtUNzpQjm3VX5Q9woTovkZVPtGP+BlTUdMniLD9T6mzyfBcfg5L4LYqYoqdGBIRAioK82SRau8lM9FpqS1ooOkpTC5wH1NMe9N6MyQqDfBV/kqLIzshPGxc/ef0V3SnFezRDpq6kxLo29QpiybtbeM6lPyrx0HwRkdy0g4tLOw7TM6aFQPR7iRE+K12Zm257fV4R0ZTjzMu5foVLSsNAxKbmBSwJHo8NQk0dD8K/gp5lCGXGIPgGPMHL+Bee0VB4xYjn71+9EwcLDMjEbTXPemvyInlnBbgJwxizJwd1jbRHVfKgdilUoiAhlFi2f6C1PaCssvJrS+QtDf5z1xR5upApiS2G5DtYok/W30qOc7yGofoF2zgjQV5BYXuh4J0lKLmgxS+KaS4pfQJVQ/LBrmyWZtxUlmsDbNen9OaxQSv/iePAzPPo7b7isIJOYuhxVcUypU5lW1FGQA0VbrdKVfBdiWGvte9WqyOMgEkDn+BARLu5nl0hBnWpZVzGpNdUMSnKsqT8F5nJiMm8g3pA8OOG52W2lUIILtXhMde6bSOSHPu9Q15/d9E5EDRTfLCztoDgYovc5FVs0BqCWC/NedyfAoO63qA7Uh1CpAOnP0zfni07AmhOQWF007PxGk9SkGC2T8XbOyXn9OnyeOzp1hkeFRWmpDZ/iZIZaUXTUPZEk9gZmdgbdrMqmcDhQhX+R6ttNkvpE+Se5EfrcXimSYTF5jWimF9Aeb2gVA8KoMnj7S881vrc08/rreIZEkvK0K54LI3l+5CGL1IiLJ9QOEbsFcNqiOrEytWZU7ENQfV0j5KRBGH7y3ZHHNjgG+UHTClphj8onsW92Iyftx1qoseXa0wDbtvWrIxCOvVvNfMlr6wIVbXQM3R6n2X1Ga2r09NtB27Em2h9zFxIF3ePY4Va+BhbfpIDqjE+DCcTOQXUKaS9UrNLNnvPMJKBbHSiD1bHkvXbl5cwH6/hYeVaGWjxdq8ynFEWlhUltnzg249deZdrL1PE2UAC16MqMCpVCQYNoRTlOoMIuNHu2Og0dANucazuTEmFrGpDBSUTtrbl/Jvxxc5S/DlLbPuSgRMlGxZ5o5c3jI/Z5JVUVE7Z10viYQtKBXfMx/GMe7gfM2a1gKESd327Eip745wC7JddLZjMRPddF0OexI/lTcLF+QxkSBqBm9xgCeoA3NoeBgazgQMBGhzvoON3Ds3MXJdftCpnJEiBhu8t+0FvqcxA2QwIuBx8gMYItcOfHbcN0k/ikSn6wOLICkZPKppN+sTbOeY4JF4VPkcSXobwh0ggZ8vwfWPI8HLR3gb3APSoGUPYmMRXDLViE30Ga/qTiDti/ijMG1JL812N0aWfnpVwLdr62zfU9DjLyy1GzBuTh+wZtdph+QFRcu47Qu85AxPIQX/EjAgxJL+0ehgfKpWefmvGZmq1qE5W59Yk0RdUaiLifZQWDqeqpipu7ub2s4HQhctXs+HNcMQKDPFIT7HlO3gBZ3xdhvkivsjWJeBZoVeaadqNdVWsJ52zK2NRVDvVAw/WIDGQ3W67TjZI1xPQpasyWxFni7LWo2tXRMY9EQ5untPIwlzpHWLmNxXuV2D2uDiIADCeVsKsnBNjTNA1u8VVuZ5GavmF1EA9MZKHyBFLJqKJtJAzcoh4SpNzbADTVWn2FmLmvCxnWHO4L1euI3WQD34HC8R8QA8B9uyOwWkcU8wQDqemiM4rkWjWm28DRNIgDJqdXQ/cpAZVrpT/NctiqgefyVb7H6hIKzXIsJJNGmq0CJQeyOfU1drWKoWvB90i0frC8l73h/hXKE3hD8ypUa3Ytp6DKx5LA4+tP0Hk4KyOWTxdI9c3rQgZ+D2bFb48L5qnuEcorOAhqUpNQ8RoAV62Cn6aa6fMZxXd8Aog/N7T4LDRfpK9w+felgDiw2zbUM3IuxdV1lNxhRiV3/yRYJD1KAM2xO0vW48e0mtv6mZne6pV/fIdY9WXEhKLa+mlSq7107gh6praBZYhLTXMYHHH6fS7JJfNcS7NbZMjoMUrxFalKRcZe0kOJDlTtVwjYGDMRTR9+DcJVebXfh5Rq7mvmGdq8X6/z5VWBHlR9Ml6bv0sjZEMmXwRjwhaPiwqJge+We1KgyVqG7KJo87RJuTK3fbpFLAPs9ESPhYfS7pqoxfRElOKTzfG/Bs4KGIvu9DQzrnSAyKg8T9S0Oj9OXH/xP4hD+ueTenYTzZEldYvN1xX7/sJc7ZvNHjpovt4EeK7qAwuxfOrrUVtkFPGdVm9+EME/8C5VQ+uF2CUONvtvk+3+ZevkCTvh5D8Cz1ivoDVRaiEgptUa04O1AbzU/+mQaNjMp6wMGcBglR59gaVTjAwkgtrOwNuCNH/97UkTr1nc24OT2TG99Xd9bd5YQVEQvP5h6gJlPMSsfaaqIxglUWE/9RXIu2JbNVDQ+iUwJM+jrfO0f4k0EPEeaE8V1ffaCWzY9TP4Mfbyz1LFz9HSCy7G15POwA3wldbGCiKYHvs8V8e91Y6QYYApbkowehqzSIwgOb4xe0yD5tjj4zlsvUuZqTC7hUFT8TufGwXNK+R9s+QbTlpVbdne7TISbz/TfDJRMfZ72K6SfDuhsXH6hQujZpFXmGwfbLEqoYOqSbg9ZxbRxJ2dOAbIw47gzhftcXkx/VLs7sXcGoxFRGDzG9rK/GURDM0Yk6RgZN1I0CzzY36GiB31rK+d2o1TQ/IUB5b3qpK1qvrk9Hb+zq4k6BluMZ9WKTxD7nd/SXtgH2mubqLT1/WqyuizhPBghmJVQ8WZhZ9pD6+PLGSORwc2hpgWNdVhP4q0URn6qtgU+TOIAQzyTNb1ThkGInofD46hOKPsdNm3lg5YMZVgtldjl/YlY2QB8zBaeq/YfHdrT3IIaesoK9cq8Qevhn/UWZ78TbEDqPoweBnnUXW4UKPH7PIsys7WmNR+cdXsFCpdwZ7NuZpVFWJMpl41bXPoCVmcnPueGzjQYL2MKfO082vvS2vT9u9uBisyUMfHm+ThNqY8F77htps26BOnklZMAGzEpZ4Y0C+5TLkB+/ZAQ83f30MmKxnFuKduYqL07TLUp/pXVJ7hgI0wkbwQFIAUoWCJdpJT4cy76LDijc4JjUobuE9HZGf3XNYZQAybMdAloc/RfMdO6wVSv5BfGi4EmEhLDRXwha2Zg1RoRa6ZjoIExkEq0bT6qOW6eBW2QUEpU+hdpcm0YiaQQ5VDErqqiXgbD+7CSFrl6FVV4WX/+afkjcXHnWnGtWNar1JCX+uaCY3RPGMHpQwmFidG3zXcrhGS2rNv7O/APcCdwI0gwCBZ2bA7bMyXn9Bh5uiDRGE59V/IJPuLZh9GjgPwfsE0xXXJSsGYWy/luE4R6aRhaFXfPAFMMgZ5AuvC46e0YC6pXF8xeD7Wgz9AtMo3vM/3YslfBvSDPcBb7v0+zraX8M3szouXLf4joViW0vpWkvlf8O4SyPZUmgvkpX7YzSl9A4dwWadZJ0gFuwvE/oJX9QcuTQxyq0A/oJWN9coWBAy50uFQFoI2UQ9XEw6BzLc6/QcdlkHPvubEE7+QGKnBfMa7L7KBSNeZvAM5N/3kQcjHwsufEppq58TtrbLANyyKcBq4K805HU9Detber/H1mgSIAnxYkIs2uJ8ieGiR5Qw0+WW/pg5bV++RoNmA1J6FOymL4W+fry9J7oMj8c4L1Hr5mq1452RTeyeM5cEv4plMpo2zpAxrElPcegQfRfqVTWrRL1PnztSmj9p/YGQWtlvFFVes6nwtBPLji8tr94w9pQlY2ou6wD+njevOXSt40I7I8l1iTWxIzMGpYqJqviRbHKHxDzJB3wYvDfvZlVHnDjpqFOeJQytjc3ZGPkBRcQtgJw4QRvrhXnRJnGGzd2QZteW7Cvlz+Xpjt02/h3ZDOB7ZAt2jaRHrPyEr1b4J65eRVBglA+b8ha+nkr+tu4sZWJI1h1XKN3e0w36RzooNI54V7cZsr2K+4XANlvRFPZ/ICk8byTu+tH75zvG5ehfIyJhN1ywoq2mssqPn0PTyQ25lzHkiTB+xG3Sv4eVnDuXEhZtuVFsJwNreINYHp6sUACYgrGStyDER/HEaYeZb/94yJBu1VCCZy9JuGiYR9Q8wTgA6wgW5gnivznEuYPY7Zv8BURTQiWb1GKTk8caq3a7lUHiVngmQIhn7nfclTDQFb/2qvK7l8Z4+P/DEFDUA2qUN3ids/L5lnWNsSxIuCduVqfHlsF3yDfN+wwpPKFSUfm34bjlaBmrxQwfmSSnG0CwdC3ccBzdjF5fKMeRdIAkqwx0YYc9XUhmrZsAckAt1wO5IotjpjgjW0ltQ5ePessfvexs8FvTfkmJwwYfpV6y6PBQW6UnASzwmlD4JWOouDf44ykanWkFAf3G3Z1nl8WPURWx2a0a3aTepDKb/tkbCDWi1LoP8sruiDfPT2Guqyy1oyhZzb0u+glDqJhhc7XzNN5GauGsnVUjK0trwBbd6krmhrf6ZwgwG+C3wSINaPNdZegVcBinF4dL7cICtrsc+wFH0WxBf/gQkhPnd2kuZ3m5F1Il/gWCOW41snEC0q78gk+29C9rHr6DrEHderKswUJlD9zdI21cjmaFGR7i6I+0gyXO29dgDpCw3sgX0zMzbwGiBNAJCMXcyXGpYfrLjH+1CyFXSdhXJBo963cziqGS2QPRFtpo/G4ddubOffH7ZAR90IPOiT2OeQiLYDGo0VYbvWdGphk976dM914is7h7aFFHZkeMyzIQk2Mx3/w1BlunEh9Uc5UxgwXzpRl2UG+wZlvcjDCQOWoWe29Eo+Ii9KOsnpFCtJ5h5lvcreFRHXyE1+uAKwiMDua0cdTFaRf4Novv2BjwGVhTDxiIUVBz1h5oI6Oz/v+gg69cxHkTKsWryrazGP7SqiOfAUqdzXNJUS43llSXXqxwyuFvTEGBKBiXxsNZ3Q81FNnnSC/oxIQ1Nj2JEa7nnJXfe9zV3sjl47xWwptl1AuSReZyPgt5FmN/g7qUairKBwEFMBU2gu91ZubAfA/+uQb7lYMKlSX88U/uozwguu2gj6bKcpXR0KGSjfbT8QFieTkir61Ojj6UW9/AbbM5xJi8c0new+XgY6N4pWi37ZHbWsQKh4mDrxKmCcdoj+V4H3V2LYLIry+16zf0jClFwHrDogNwuvtajs7QPhxz4eGHeGjO9CoPU3QDPnUMsUDcorvORGC+BVYCGqak6kGVmkxDN1Woaevmuwy3DfSEeu8ZEwyAv7VfBpcx+lgp2QvIcUD6b6Pkes8LTAfVvkz8dQT3Ybsb5xg0oo/0h5CjhfaFEM5grZTv2Q7rc8FSlMYMul7BVhnfXbPuXBX5N8UKpcq2zK9xHyIi18InMYs+xBoKH5Njc0N77daqsRqq0WmjgPhVPdB53StcNZPcq6Bm/Sm150r9eWD5pGWkCBf2PBCddWqhOaeEmb03FaojsbWSjozhoSymoDDC1psOIAtPSwxFhfno8piwd1eCMx6wn5KdxsvXXDkvV/yd89Tnq75HY3nWuPnGu/uY9jnCXsm/b5bKzKSxSD/Aql4aYAOLLUe9ln0QxaX1URPWdqn5rOmvxdpgaDem75VtQtDhq28kkXtULS9FnuY1+aDoFeVlAG2L0M93OUw2UmDtQ6I8ovKjCPCaGJXORwUN6Yt9VoWyvvoGohZbBfgnq5Q8jlnxuLt7RDsWmVgANvZ/KGGX1f11OkbFOjRE5G8wl6NWyC8OdKgj/Y9xYb6V2v5s/zjsJxTZQhCf2OmTGTVlHWY+gmz22p7CIL7b8j05vabUc3LlgCYikMA7YnaOJl1JQR+fYblU6Ka1IBuxSr0n0gtVjmbWnKH3ByTGabZmOm4Kip+NeJ9jBaOF/bS6DkTAi3geJKuB7XqdtwsEloRf8/qYmu8k3ZxGRwgfvTQYOk3mXcyBsJkg9tU8OvZ8nI6wDmaVXMa7nweGWWonZgqvb3SsIkbJMvr2xvuWW5EQQ0wy3nkagiUNBEdTh9EQ0au44vJ/HIquxnv3aT0V1ZNpimjDztpkaasI7562jPAvz0KoOyKsXi5VQuCmrUizzOOEDeXDunTVqQ5Xfajly9QYxWxHOV+EDf1rrUiM8jrMq1CGhpetTXCDOVhUj7HHLvgiXremQ5k/7aNwSPx3MLCmDpYa8Ogx2IFEzC2PGrgAnhNNZiUTuHxZK8i2sEFa2rHU+DS3COSCczPU6wdzc+pKFfXSQSdZaAP9kf6LiozHY3ptGmWxSr+RP8IRVx91WDS9J/Xo+Jh7fGI3khvlLTfGtSv4z9hvnMHiBYna9cPQ2/5mXDrXyI/wtI1QfI94ziEdg2gdWpYQD4XuGUgP0gxImwv9wlyQciONTPLwBUsgFDq8VR2w/nPwq8aL78eCnCugmB48RiFlNmKwHo/O4GD7LYUNyi+mo5fRXi9ZRdZj6Kdxso7urIMdP+zIRRzACV+lNH6QWLi7uLETrId/ExyVWjUgljqqgpq/kk50qmhJrjum0/dODmZSAO6z961sVK4Em8GeG/eu/Cyzwbxje8TSo39WHh/KJLAxUyB3IgOKZUm96MvlGKgtWDHx7QGmtA7qX0LEw4AGdQtp9diszGga31J5jSUPDNhUlg2EihGUh1MHejMBWUjJDUoM6TWeq+wriIiE+xxl/TtbjsuSQftVLnNSCr0HXfkfOgMrz7IizouIR0IgpiGcH5PYo3sugwzTjO+n2+Ju2TzZCoRaU8oVg2IZuOmSGi4IeANOFUr1r+q6htFx7PxlvYQT0mA5QgLlaAPxZhENhveFECK/4HsRRxVJuJymkZO1ednTypv9sAzCgRPmooT31PUO5APnQdjrdHVEbR03+I7IQrZTL24z2ee2DIJuD0IlNIXwaW+Fdg8qUd5g7JeRHU0DatXnbXl0jFlHNDQYmTOWf1gEuf5q9Q8f6feG//JY+9gBNRsgYydUOrjmhTJHi8DX4Pmf7YejUVfHaQb9L2XsWWz8l9HOaBjR5+kbx39IYQbC6OXpYr4pNFmQoKnJ+eNVVwZMqAV9IaXcCYXUUES23CIHk1PZs5f/8kwmolTFvqZiiZb83Q60s/PBlQVea3TyybXYB6yUt6kO2YsYBNBTmNB2z6BhiZ/OKAT/5Tp1r21vA/0X41TG/zu/exbm+2T150C0csyO3cbhPXFvvcuBC86cr9BpAcQ3J0DDTIqdv2U8OEE+gEGXyljEOGEPGfEp2DWSz3mZ1sVBCPViZ6/UmgY0nxfwCWVzWsUTv9ieKIAjxTJMwkc00f1xRzH8bU9/d6h7HGa+Uc6mG5RchoOp1Ia2bO5wOqhDoowo1bo6XI6jsbJ1Cj2AjG97bnP62yS4KX4Mysb1MazbCAaUuhBABzCdgHG4ckO+04smCEgA0xAGcDd1D6HDKmIEP2OUveIsCaWJBSCMrpZWyxqhqNjkd/pE5PMbxAaILy8UerK8dklHpuMSDtxFU7OQ075Uewh5gyC2uUwsAqDZNtYZzDQ6Jy4vMgOjsKyK1DGCG4mi1yqd7PLLPA28uZ2GUZUdwBJ4XaZ6MclsScnx3UwZgTRW0V3/vZ/DHY6kmBPH2q4FEayJmG7t2E2p3LLjsPZNfktMSV8E7ncCNw7DDEDK97Da+0Owqsyqi7ZI5/HflyrFr91o1PiBtI2BO6jgAgMw4KDTe9p+BJhaIk6HjozGQd0/fTQP9AqYTSyjAYoX8d8iDG1+JKxHgAnWhbR2xtYKeFJN47thGv/CBXYQqRRQsSALfWbTGDJhi2wdoP1Vn8mlQpv+tHvKZtgHb3x6yrQoylbkc9vevbgflhZ471D0MyJxsZtuWQ00nivLZVjm7vQbTO30vPIATFqvak+RqrmGCpr+9zZMLVO08n9zr4oVKDdGAbPLvynbhTYE228en76bMtnDUNNlsI6eBOLTy/JhtTVLMx15df/zjfxS6fvOl9Eu3JYqDuBPPexyll+Zf7TeBaZiQ7WdBuZ6oFS4CvOSmd65FR/th+bk8nEdDCZu0NGKj4j5gT3RrEZlZWntW1XymaqulpnKcEXISNNNBv7k2F2gyvl7SG53xFZyyFs1TbyS0JZ/xD9ep5WSw/yr9aZ3Y1jonuRLzbj5EiLiuclZ8IQfux3Z6eT6NUcIrTAm6e2/ALp+nY1o9umiOsd8LCKhq3vbOKLdUDL7uHh2K58xwVe9Idzl1C2R8NqhktHvs7sEoN5a1M95EdVGSNAEItyzfkH1HqEjNXDV6DOrwV2tBA8DzmI27bnUN+KzanWnFpNjzQnhDL3YcZlmfJCkBgA+pysqigGhRAaDLcxVQYnN/IDGSiV/edYo1SJxHQJqFarpOpSzfp1IBxizjQOwq3jtjhWboOMxB2pU8osCpiKIc9Effeg87u+v01WR/C9tdUd2ncHmF3rc8uSv0SoVL2IGtVUWGg9ZnKUawmn2fNNhicKdOfksV0hXwTvfHhTHiXsu/TCGI6iZ5JR2xYpIopPyS01YW46ATv14aMdmTJtkJpsVh88iRcTNO4rdp7Fuw5APCTBMAs1rgBuSWYcL2YXK2zgi5epadBFLbJESifVBP4DwrkOqEAZeXzR9C6ld0puVixY+HKxiYleVZIY8/tUd46KJchtHMOtTCqDAimB7PbmRAv9r6MBEgj1lbzSBJaEUF6iqNQ5J5DliUYun+5eVvNnCCHk+GyXxBdhQJ7XW5kFAL9ldZtEcj1wmlXiPmyopxbTQhPze32PWGV0l/BWWwNhpddG649C0gT9hstM+25vXxDIFNghElzJrlKY34J92nDz7KObccLtdi+j06nHauC8AbBX/e5ssul1fSSPsiZLOJJ0yK2k6Sp3rTwXsxoK/tFXGMeXc9LVpvnqk77bUCC+HLKY3izh31s23NQjeWa8uM0MdDzdraqP4mTbqBZtdSGxL/55+OmOKpuW53roHsfOIuufdUJ28g0lZZZIyTdaa7FgYVTyBl190RRCsLz0sX9E4ZO2SteCE0/vTouIDyEz9pumPzmfCp6/tpooYwlDfiM8hAl6uDe+GIwRGWPmek7j7h1UtBDRKerEaXJhbqk7lFuu6wRWCshpdV67WPNPWFf0X1w94gewBNNYNTn5b4lPvZNeglmvR8fQPKMX3XX0OOueOc8bDp0IWX7Uj7vmwkL3skDgxNYOU0aI4tFsw7/9XlHR5OHhxO7BoM20kI8dn9q8G2oq1Kr7wLVGb13/3Q94gNL33yYzU5Nsi5i7aHxSPf8dqhrH+/m3aOGj6XPg4f0Pf5+yC97ScVw/47PcGZu6pX9yhGqFTI07LwzyFO72bgeJOHZk+2wSinXNrI7kfB16UBau+nYLVnfEbhoc+P1an+2Fu/huSduhbaN6vvTNuk0H0IC8h/1mAknIPDSjJUmRZar1YylUj0BSpw3RI0ybwgZeWa3w6cGBYw1masQqUQqj5g1Wsd52pJt4OB6IOt1AigujNUISK4ockA4mOFy9VaKYG42R/v+7rATaAdTA/9Y8gQxuXg8s0wIGxiaC3a3cfmR+LIuZDmW8ZpAtwaNPjRzsF76Dvj1VOtLzVT/5BFCCpvQpADoySsei6UsbK1FcHT49RQZm5DJd+ik9B4zpQz9pWkVL/B8RUv0031tbLZgysMEzNuJl/xb8x1McePEn3Z+MAO2WiuAK57g+3sBgi/ExXfDb5neTKpWnQdpXqHejZxi0bjLZuDUN/QWiimp4Z06UiZYZ+RE9GVbqSG781SemlvdeJ5K1H3OH8f2fUnU4fYG/DfiA1dk/yo38Zdb/R9KOtfZ5pXL44KKLxWxexZpmZ07p9gb7HeVefvI/4Egd8Rn9PQ9j1fjRqrpELfPGc/3j5ZeJQJNtDegxVdZG5oRvokAtcugI2q4TRsWoAbwnbmpuaE+MH4+ub3jSLTke6ePY/oe/8WYVObKUpCBulUERRaKkmk8I2Q1NHCOciWlx8IbmRmtGdNT91Ond7g7KoKpe2IVCSTTIHnnzeWL9tbwsjQFTwfM/pSoYxUyNiu2KCeiN7Dfk7El7iwIc7RKvs8xEOiV+GJ51fkbJ0qjoC5bAExffALdZzXbcUMjsHggDepz4gwJ3zD/muaLqKjZufqyACXOq2iul/AZt9t6dLo8Z/j6dmRUBjEoogwcoK6HVK+BihxTtYyPdkHICHRSPu3ubsOD8lirjorE/63N+ht5WuSOuXLP3PGOinCiYuxI6cT+A+nL9it9KlVTl32Uq/oz01zeZbkUDPMMxxGDGBcJoIy74bFkDtU9WWWxmftGKL9K2BTx+S9GJ/NhTbaEvLDQxQhFHYRaxO1X1HfqCder8m+XQzZWUNN9BFp9j/VqLh95Ovp3GypuJYZhBk1F+sOxX5ftzF9mKiOSjrsGIAnF/WZBOql51Md/euiEmAPVVqdYkFkefvXWGLO9UxErUKDm3a8QSAs8Z3f++JKmNINGOTkyT58ZoHRKCOp9Tmy0W1oyiZaPVoR6kgZOFxvzgxE6PEBaCH3wHO1bn8WF9BxZVx1gPqU1BMRmqope4K2ytOX4J+r8XXaWbotinxPB7XHznd3C8MVb8ozaZqqnhLO8M6PnMNhRNwToTiRcG1D92seo5fLdV5/5phUmTDmv08Q3+qrf/Jf5D2jzfPEUraJ0GgIoT0i2BL0SMbJEmbdxo7CJZ79bLk/R5lQPWeJxV6i3UiMRLWPbqxyPkJwiAZFeEukiTyet724mZWGQPlcupSsEkMmlf27BtAowzWf1GougcVdLzaSdYaB4/+uNAIr0ykDzMKZqIaEuHaBLjyN8o3RST9iW+2QJwVjgb6m4tzALVNXnS4qIFfoeGlRzucLwnn9RbubzkQjqKn7tWg+3Zs3T/Cu62dyZBAq+jlmsV+BprfVwEYf7XR8vx62t157luBZiiv/VKU2RMa+BLW93JeyaTWUHNfWBCOKPCnR5g72PaKDSrDlx5FfaECGpFKxYkoL/mttK60DR/dl7EC5j9tUf77sCrpia9Qt5+fCb6oWVl1ueM4zCuUWAI7v6JhQWMyaJZuGrw5HuK1XuGRYPAIrfdcocFBPtO2YkIa57zJ7Z7qTXhN9aAVGXmiSRcD4lX+W91VijkgRK5n9KwoNPJnRa+n7y67qJcyHaCi2J5Ta7e/LOgJ7v2FuvzS4p6fyPBCDr1DOsmcFa5OKtG07Yiw4pps+Hl7NhMwf9d+wTIt3Gcota52vP/u2LnOxX8e+IQQJoOT7mXFfJyqOGl/ziNMYzdaRxnoVsAN4RecCWl7EuuflabXTMy3wBesH3e4M6IRUjreeiA6AWh9LxNskWJJHESBCDclCtSlcmSIb1+qZ7wMJu/SKwQWXz6Mo4+KRXFp5DBEJp0BTN2xcSyamKhyIIXBS6GCrhMDHy51gQBtFFWPSR5QAEzqxIVw/tpL80xyaAsVcBDKPeyQH4uzYK7Kbz3l1O8+/xlCCrKGCgAYw55sfzTfxDYTeWLerAmzCYZn3TuhMMWA0ot14OZwkG+jSpiIvfkEDELBTEmRpzIqnT85RffkfE2nbVP0JDrxqgcl2uYbSMpiNJLav8TT+l+glLSjWikBjgVpfgD39CYAKMGZNBKjgEFF2Z1zK4JNuNHqpZNkQcBq6jJrbQhZoIhfqTFbNOQ5skrqjMBV5Bm3ctmJk2mIg8q5/fWXev2ud/6tAHSPHd4gWNFdG5g/vpUY206JvYwU7DGQo/ePOvJuX3fzdJ19bqopFfiQBwo826+b2f65TKQ0Ggsocl9Zjs+KF5esOI1YmZLGAL4kpYF0edOzuCroV+XVJ4ogaBRP6cDmyZjo024ebAn4ynRN/I3Y2omXLSzrl9lprpZ9dqUUIzxGhVpNvQsNMKU8zgwuw8ZtP1B7FG5FfKcZ0zev0JvgTpew7Yxko9/suej2elu6AKgQ7viVnpY0uCLUj0Q7CidlJ2BifPcpqzTaWX1oN0eNL1nTvOA96x+mEBf0UzUYERL9Xxkqaams+2e3J6H1fk7M7fSFKE9+OnvijiKpiCFHmeMBnSX9Jp9N2AU2THw+VRUsEOuqlYOXzEsWPRfznkDQeH+zjw5f09sPE2K9i++SuaBnJhMjdFWt+uHL2hao0Ky3E9VMNFiUUMSiC+qjGa8l4sgUWT16ZRAiaKBz8aKNb0u8R32Srp45e1ICQ1noO126M+w6Q+zLSBXmzBmSNbw3fTsCNnTyR68ZvWkfqabSz9Ys+edoB4/Zqj3a/EARvSjSj9rdnSj3WBHMBBPiMg/ZsglqDsxYR6AMjnzio2kuOkHq9dExL7KsOO2dEdBF5DeJwsf/q22Fw3iq5RPRJbQjhzrTnTzimhKAygGi01teanyDaOkSsvX53PM+f5HHw6Uj3OswWrn29YCrOBR3EwcizNgjvGr3m7Zstr5GwQeRtaNBqBVadKOLZRGMKD3UGzErQp3yqnC/ZvxwnuBtwDsz9QfCGayAEG7C+i5KRRwqdQwTzCngM/LRIZpEkShd6y875dsnRCRZMwHyybiIjAnxgPbEz35kOMtLFqf9+cvd1CTFRMaWobWFIvhICnCRIRukVLRnaYKWwzpm2UFqvmq1QnRwXP7lfYWscIFhgLeGiURhIqNRdyL82a5zlrHdEpufC0Mcq1YWsAqbOL/fuNGid8PNklo2FVin0mI7/puV1cgHENj9pF5RJ/JhkiOILuIrrfpUZ3F0fHTTvZ70rLJOd9Z5Ze+FToXQw2bA24pTw2MszmXpW3iOPGtLtVjI03c7toqVlnxY+YwLXSEKMkSrXzhJrUDGmQ7lu4sxk4Ak6kAXYGh0mvxgCv+d+/ZD6btW1Dj+JFmI1XCeCD+7q00WoCpjZ/pm2kakGY78QlpoEScbVGiTNAEE5263OBoC37fRD+T0IXrDK3MVL6FCvo2QjIC27q5cdEG/MmMbUPc7r5LG60jgnarDasG+CWqoxLebOwmhCJsXzWjomon085rTnPVe/gbMwoeQl0qdEUDl4zfELmP0b03aK1DTQnJNR/EQzGSfPm+OUiG6xWRJiOwSgRqhDSSbpJr0cpzzmECWyMzkYmeDetWYEFAi8AavATyNpq5vaatlUqbldBq4ATFS/98H4DKb1ohAQna87nyMnXpeIfSLvWBlKEWWTZaUyzpIvgwAuuIXoJjqX0hIIlPIY4Sv3FreuotF9Y1p2CHI9Yct0mJA69s+qP7a0fB0EH3piJqG+H28m0InDlId60601m5Wv0o3qMj7Zt+wpfIWpVfvRd78qqAzfz1DarSJ2+xqedRU78x7h6SmYPx7/ZGL+CBFe+JaJfUWIUaA1FSUv9aaxDAy+daIIPqfxLczKA4JCZ+xT3QNMOdVWzZUT1HZw9LUp8oYZ77CSqlbSIzqI+DBrpfo5If/8ywWyhfN+8wP/PcCBS3aJrLxeBQoMHHWfqIXGjRdvt17Oxp2fX/OxyGLLaGLIZB5dk8M6I9oEQsy27DvDhE7KSjeIqnJNz4EqoRjU0EzHlEwap2wGHgd76+RlqBIPwZnAOz7xXTd36hyrdTl0tVdUX6VHdlgZj5pClFFw+ycBdNr/i283Llr7FlQMUGSjMzo6fyFdR7jkI3m7ri+MeTqrKyNrVdte0eL6et5D9d5sWL90lQ09dbxjpn+OxPNcopqrjRmBFBoMqzdxRawy5FAaLV83IyL3NgIoEarwbO5YuquIytVDdwR4bXS9kcxnW7pckcSl+rGS4fBhy2Zg41sM/TlwMuUrAVhSrZxYwVJ7D1v+XHLLU+N2aBRJQjlSv/a2MBeoLAfKd6oRQCTjZoo4WKNuTx1J/dtr/iDftLEzBOA0lheC1O482ATik3ww1+Pol5U3Up/5q27ZA2sNfYqsR/p9dYLlyjcmSpTF973ARIX6vS1xwzgjl00H0M1+SruQJjG3Vu5PK+jfsFeIJyCHyZSDd/NvsbIEiualjMtWTOx+fL6Iiiv/V6vy7CpkZT5x7XM/NcSyQJ1G9PsMUHQhSe/h3KdBnjPzqwgyIgGsahl6aPyCkC321Xf0io4YOShxC/3vOnItBKwUb2ftiA0ab7XF8l3+MjOH6d1X/f1R8L7PfRp1Sq8IB/fSLNjOoPwR3uaKXksIQvC0IQl8A09S0UJlH5SNdCA5NWAha49M4OSxOGGSWz+V3IWM/i2KIZ2rdc1cICi/omRitOr+PRIKfFeW3m+6Hf4ZizjdcrURKhilPnspUxXpmW5qrsp5A1TJYRj7+u5FwHV8nn3oR0kyOhB0a2TKw2Q5nIkPhFG8vT1Owtw9WySjnGuqaOw3sc56S5ZwozokcdXR/myorXE1HN/AnbTtIT4dwpXnfIXdEzePQvZkEKUGdLKg/boGOGfVkM9blkWQ1Vpg0B5xZ4hqMmzWtdHkPyM6huotcuLOFvJ47LR4QaRJgJeG2bvRQxqg6Tk7S8d6UKH7dYLCxq7l2byLldfb9Px14RlEsSGNqLwZtMPo8G03oJJxwDY7T8UBcjJ3xnDMlSBQUT497Kitw8NQN/Gls5Xk4l9JuEYPPBZzI96fT+l+Ap2x2N7G9NySuLk3HVQsuB8sDaV1N7MvToFArxusah4nnQAahDVNlb+tcGO2D4CkVb3/bVLkSiYzlHGuDihiQmrjv3q8rKDMuY2PoKMD5UllqdXo+Qk+NJqB80oXmKtXfc+tEdGQsaI3Ia/zcNYrR2S/Txxa9zcrCQsDwf70rO/KFaWG5kEdJpNeUcexeJXqnBN6DjgzVeDXKCJmzBoc0RAK1Bx5vDdMRkmeGx8FpulIKMyQANXitPSC0H+pSJ/1xxpmMc4MP8jmx0Fgo2zFx35iq4fwEKknYY5cVNrxoQS43aRxp7OTS3pwTDPca8bUpoLaVyrt+fhHEzPD/CePLWij5De+gq/1NkYWoeNcvq3VJPMHsZNAW1SRH0bPebJ7TPs3Z4awB0mVYJJBr/TxfWtKbqpdtAJpdkdR1Dsnm1uiwxWEBLafEi5DQt66dvyNLLdJuVu/4TORWsKFtq5Stnq8VvT6FMu8EcPef4LDGJuriNLjtESlO1GoRVSAuJY0anhBKrXlht7tX3f9DRtsZC+Q96jGlCix5L1Ja8hc/Qrwmd3k+Giy8pQeF/Y9mn+H4Gr5u6vC4ke0GL3dBp0QHb/7gA1S8DS43hBFJz+a+xOxdLhFpzR7Re44f2Cl7R+kpd5i8NxO0zlXfGx+3h1BlWfWYeQnhUBP72AAu+mHpGmsO5hzVt7fUYVdPTl+vPOSPJROITLpEYwFjHak2bffOq+tH+jxoeVwlKwkykBfKGi2Ck2Mm+YnTtxWftmRrYQxbEtNwgMwhY2fgZuRBonF3Foi580V8VyHxcofWiQLwlqFe5oF57iBO81tztCfhhXHoAHtb5ZKuO61kCMmDU2lNbzdxpNFGHOE3gH3EQpzrUof1BSPMoMdW4j6u+3S5wK00FSxI4h2se/bDA1ROU9Eg9+gvm7ZcUYWjKlW1Lw83RejJsvynbeAobOBM3iFJTHNM6lv1SRtnTqPlz9glgteI19Izgb/Z1t0PPMBwmMm88Jt6iWuhqzxckKsV9iCkg58vJw1vFZqBxdt6gtE8WQqohMvsXm4pPyybOSXtt1sbhLrbNablMDao4oyicjMTAFgbzde0sjx6uxqpWl4mj4X00Qd0Ijj+eznxmFwBFpHRYGSgv/41ZUM5IVvVgnEnVuEENBz6IKfrt5eNEiblVc+ovMIWeAHXElgt7IrxoduylKeq2gDvq36f8/8BD50+xEczCszqeyMlc04BEzS+lJuOMgwW34mDM3HEvl4jM7fFPPY7eJ3s9XdJexTeiZ3d5c6dUOxEAMm34j/2Frjs38gi9f+a0Bh9iS7lQuIMp6ISCjwupblVR3l5MGKBZwgYYByVc5s/O4Ppzk9XxLmn7EKtomsUbmU6IPLMAyNvtdnz3NtdrzZ+6021QNXD0ikvFJpQIt3c4jX29Uqf1pUs1GA/1iRQddgeqJLkNV4FYX1mz31OJMytryYpGgdbHIFF1smzQNK9Na1LStLxmYXtZKV5HENpIECgH3ee9oSoc94AXP1ZOj8K1+Mmy79TN/bAN8DwqSJfY/EFfbSOhCgHoO61gOUaM8UWBFu4oZnP6x1DGkKgFv7fzhAVOb5rHQYs6ppy2yK0dosDn5X2b36SMzR9dr5EfbjFqlvti+J4UVPWlBZytcF7ZTu+yX9IfjTTeiuoybAJfp6VXrlJxwDzk9XVyaqTvAGStqTydJhZihexjNlSHdn+wTUhvJGW3BmEAsXH2RM/YsS+2AqLmtWsJPidzY00MFPnsU2KRzHzkQQkyyqSHxQ+8DLopgPHyRVb/RHTFRT2b2d+KnqJ5BCKgFVSua3u7sY/kJWODBY8XNwAsNUBfiDXLEbjGo8MOR0z/GuLf6mcJjRIuYr9IWmOJQDJT5D3F1iLMF8KRJQwW9ANL2K5x/c2D2oBFregFyuUyeVkQwzVvxV633l/JgAJumky9+QNHxh2x0lq8AAeHOTJfnnb6FJ9iPCV5nfGcjjkftoZpXzpgxA5y7mHguErBSpaK4IAKp5oEnsgHkeKaVyhm85yqSyB9LwhiV7jRb9tKdSfAfA0AXYGxg6pq0N1yDUH7buLqza6dygejhrFDj4QKgCcv7teBy8OnnVZkizW4kvKSMDGymXL62QCE5b+5pIczG8JNBFs55SidAtCCVIBT9OfyJkogIGAdMH2TWOqyEMmSiYOFGaWp9UrVS9K6dQJwpbOjh2sujtin2zV9z/ot2DWhkZqxRKOZeyzwbNXKFe1jfen/fTFB1ROU+y4GDHA8doNkJsbGX0ypfPYByU9lxmcGUE/lJ5O2TiWEaQ64cwqDcQfnwloHQ1B9c3PjAmE/0tbNrmH5IP9KVpcdHDuiY8AFZNPKBRaKZheo5AV5o/6o8PY3EWxm4m7LY5PsQU5qs9djGKWg0ellOKt6ZcL6aLuvhTwv0BX87mzIS3F4gabjgpt3oW0vfYmJyFiL1a91jkomTMnOK945o60JBly4YU0xHSz/RbBqjbBSvCEj3iALqEUcVmBXrOFcU+vZ+TR9oAM8t8pz+cf8KvCXYeKG748L2gSLz2GAo4K38BC1cKJRznNBdBBCSE13/CC3GXSSMvy0D6tLG96BbtmtXP2N6PetQpzQ1jCjGssCDsKDDcLquEmsyLUv66a7jjX8/UZTgWKq+5/CGIBC0qt32hKZIRDQOdtNY4GVzGrbcFibpus6vWzLVKnJFv4MmX0PtZsi7A+YOV7eXurGJagC1cWKapIyrwZaudRiHifM3Lud0zkUuEHOOjm9k6rEMxsLoJ8hkOShyKZ6pogi/xzMpsj+8P4E19128kWqpytZLRNiBhTQqrTdDZfXpW0tQEU1Zc2agC7lEswCLQbGL9Zcaw9P/Hw1lR7xV8TD+Gm0GiKBC2EXcAKyHRuDQrgoUQ+AdQqJLk95dNjJmCLtVOtqkONzZzQi9ePMm/ZVD+SwZolTg3JMoSi94b2/Nohc22xXYrUlOu19e6mVJrjtJK3PEcZrldXgXNQrkb/2FYN5oxeAgGZa57zhLwH8v/jREMLf/BFFY8MBfo3Xv1oaR2wco2IGT/mvMYMxI8sEM9SP/lE2rLNh3XGeAYED/Bw25MKYzMnGCqIVWj82TUtUT/uEd/xZfI9V0bjhEScMKWm4IvOI0NKtRb18017/ce/FAFrO/PF3XBUjIOqQmE41ks5H7TRyF+WcyxDfJ4zO17DqNBIJhgTO5JNMwptXeKBKbOtpS7L6N/vOWrQn4W8VmgPY/RO5bzk8VRQ6on0Nlopml7A03nOVRcvqWBiWY3VDJIdMYdjRbG3KSBdgY8RnX7ASap2XKOmUvzWHQSB6BbgE/nox8rEopLTqeJcBI52x05SSfo+2ryJzfTcXP9zhW/CQlfwGt0M+QIZYEikqU3gDRjv+Gm9l7oVYaGmopSUyD7fo6Bue68Yvkrj6R08pRNgpRc4AyiHHsbnThRC3/jvM+lbWYQRJIcrLyN48JcPJ3GFp/gZTdGlf333vcpc/04PDenI25+AOw6qiBlD9nH02FgecM0/uxleZ3DEpsqMgLUMvRAUitBwAd2ppVxF8eRKAIiLZbxAyDZ5RPd3iO8NMZpbNutjDDNw7q3UxDAN3hNXgrsVxBd+4UJjdw2LgG6RdtJrW93rGIpetWuCCvGQlDzdXeihtxuWhp8QlW47YxMJ9DI3X50pyXiAOVmm0bqW/QwNHLgss6ZhsLBvQEcs72UYhCsatUxd7WxTadBw47WC5C7yR7cntsg1f7cTBjpY/2bFJYaif/nzQz3pWYkBZhLAwZWF9QVN+1OkxWrhL2PGGbscK/1PVEJb2ZbHjh2t2i607TVGjxTjHkNAFpfxsoZKCniKnvXFPUcPaYhAQ3rO4nM1fvXKfMsTLF+MCL7IriK6QcIGRpUS9HPKdYPyPSc270sg+FZN0rEdlstmKKWTREKmX71/Hrt+d2hA8D/vtJ9MACYZfMZFmAgNXCIn/GaRTjuWAKRexxeA9sAPxPi607d24NF8KK7bpf29wockHMvEbKgA7s//Eaz4AJi8/g7rUp4onltX6fkpVujHLIKbvmiOA9qlOcC04eJQGakVVB6B1ZYkC0gIkaq9Qimsl7vYffevomvWnzuNenZFAGbOiCtrLN8HVFdntWBORI9IoZ3vpHVR6v5QMeth/IdyH2e9f3fChirKkBlqRsakmrS1xjp0wb0+rjh07TODuWVV3j1NV6K9poAFnln5SK4j4Ln8M8LW9b83rAfNlWgfZOcgkjI+8vd9tgl+WYNF0B+p+cxR37JqJg+FLIAgWz9f2NN6ucgctETJmXG1AnZQqy3l6vkfLVNOvHmJFTU8LmJB+FM9DSt3t7oPFuPQYlL9+14WdwKshEZWo8L8vKBnoLWpxkvKaPycnffm3e6uDjLbJPVS+DvEWrYtTB3hE8/EEp4Mm8m06wPip1emU8+GdAIAQMgsDPf9mhW4ptwwQADOFA+6m6L7Hf/jSP6xvLEO80jZWgEP710OJoPJsmqTgJTwVGE2jAAYvfNKMNYSf3J6txWxLwHfT8nf8LV7mv1Om+szW+pSMUyc13jlsukQWekx+jqoG6eoISN3M/8nOHBqp9YghikWfu2lnX5I77wFv8XkAUMxRqo73mLPji9Z+66M7sXYREstJ5xtACA6Ryd7iBq3ZorYytyyu82wu9rRyS3aHjz9WprOlhxOTOALzyIhgUcsz88taegSUZB6MVRiA3yI5T0Q53bX0Mo6HecRBdzdfxRBT44RZPfp8/XQecqFisyhnaU8OOneSJPoemSkvU0ekgrQhpaUIU8S7elp5YEo8bqBFs+ETWF695JE9ChkyTDyK1tUEdhgV1d0QI6dTQeRhqqrvuR3biJS1EcQ1yEvCWrlCzTT179ids4qMqWRPWercHuBV1zThM8rkCoFJa5IYNkOkQK4XBzE4hOFIt4PUYfVzuNfbLnug2VRl0ECpdOEoquFQRzKf3I5+CYek0NKgJIe6Z6BLNSrChJD7kzQW1wAI3jj3ajAuzTcHGH4bT/F0ffSBc0dBOa065V7hYJM9mz65OGwHDpdacSUhHCQeFSfpwPsmV5JWa90veMrtUbwgdzh1R1Hwq/+qSVaKXx7gnjdisSWEB0VF6jz5Gy6t4SZfSfvepHzH+YSzRbytYceFJbi/N8B5ZCIGlUUrPg9isfNC2aCSYeMMdIiyVP5OAM8ZDT6mVuFr2m1jt7sRkk7v0lsEH43kwB1PeLrvk/qIIO7MRhfa5HKltLO5kKIrPdi5Q3QvlcgfaSxeV8hCcDm4/L+FmkESZmLehKMMcdnNsvC6pMnnnmwK1FUkI3KIzBy4JDBqO9774ISiwYwDRb6V1N/XAhhjVRv4r3ZRuruqfs9oroLbXedFRZ795C26J4cstr2ZdLQ/CHu+e97VxY8jDjXYZ/mgXTVp/6f1Effj/Z4pvtrhLrT2NK8VhWzXMz7Po5uqH1z5dGMtAAIdrrqQjbpzh9l2XUxPTpg29CeBey2NClHS6LBlbed/1QKMF6H5D9ZyYcny9q2pZ4z9zwzvWfm/FycLNeUtQQ8uH7i/G8GHrPq6/vp+3KguPsUSKs+pE6XDwK56/sJ7L9LD2uKhk+zQ25PkwvJPihXMlvdw0bjUjOC8iiDjXy9QXfTURsNXtCcnJTsbme6BeVFo89WC68rrv7YxRSyUOKRJziWUGoWDNohkpbKgVviDowuBQTjx/ft+EG6YDY6peJ5ebpL7QTE8ZaJeiaM/sFLTupdXJQBTD2iZQ9sfrEcmHx18ugkd8dd3NY3jhfqMM3HFuVZ5sSxuZHvCFZkNa/NSV4jS2eylyz8pOAkX7j/dDXP6zbbpTbRAkyk9vB0TqTFn0cAJgTj95xceJjgEJEQKXVqRUOGvcHDQ0oLJpBccQFBstFkkwSbvUr0l1QGYUTmdYbEGUQJFHzNDoBjlbsNCybHlwGkWCUhd0qeLvFRVbdfj7xX1BmkPL1XxXIbNrEIdnlwq/T/1G+Xc1Ceu/H0bW+TgbeR07hkhQrEB7Qa8Ad98tIzJCw3gdu453lUVo2+beDzh1iWRwPXqGiN2QZ6MB+XJXxlP+MSNRyg+1PROW9rLmJJUYzeyUPQSoI5m0zIJbcz4vaKQ0PIQ+rlljMoaddX3B1sMfJFtQo9LDz92Mm1qwKu0Ys1of+gxLiDX6MlTwN+vCVgGaqUiHX+A7LKRpfuSouJtlcUtZGmnnZ22pxLM6abuIjxPVQYp8popFLLQXTOUicI3W0bB01j//TXK5+BMe3u2jgdfNF56yIYTj4x2oOQn0VeomMqczvYHE6I5lgq7pUG8HnE57gzc3KEbwgYVk8zsB8fJ+AihNliEEFHSkmOaPRQMVd2w1DQmOzp9BsrYMAhewfJAy+cBK7VwqVZ1TSvXP8juG+WsZ/xU7Kv41SwqhQ5mOMlCBAUxJm+phEean1+z24l6+gLixtEqhTzKdeIzVjfb7l+lUxqpe3dHB0TwhugIAMO8eagdV22AhXAo/aJcwtyxqNeJKg1um0UVCqrUW+4dfQ+R/xCXNgvdT8KopBqGZLKJBPm1Clbh4JNQx3RyUWS9GvgM53t23xhU/HNcNfpI50KvCqEMO+P1n2un8zuks4lEnmxoiqSxFXDiHuNJRWJ5y/TqfZuYu5NJwQru2JGPxBsXvFREtUdFezQbJ+zMGYnJSjMa86UnCM/oAK3YiJtjzOdvEJPzxTFWL7uCeGVpI/nBZjtXjXfNpUhxZZUnxKoOap1bocdrv3WE9yfS5wFof07GCwgMX58F/fxcepCkNDCBPYpFSNyjLKJlexs042IhPBv/+ZQdhlLijY/jprh58DRsZqgGeg2mDtcxBFcYHZJqev2ied/x8NqN+SuA3wgx6SixBtREVzJZ1joFChN6QC+pOeo21f/705mg3kBlRKiisGncqToWuqr1K15ROi6I+Q2umpt9pbHrJO8yKQu76QIgHwydIJO3bi5Ajvdc2sIUZcrNVqO3rYkvpb9Z1ZeAnKOxGkw22/5Mgtlg75be/RwiRs7wbwCudWc+UV9VPv7isTK9HkeHXdQfQooixHxWw2+yM8HzdchDMxgYspCs5psyc0wSuVXXnAGC4TWbB5IpX1CFQN3l/eFXf/RILcl+QkGZy/68FvBphNbEIPxhhUnN6BZlp4XMvR0RDE+fwsnoFd0s2mRtH+c/dtrnce+SV1QxCbO2ArBty4fDDSBO79nGmT40qg0/ZwbytEKNtaxx2YPpnwQoym4BdZ81QVLHjoGOClniuc4Tn3Rseb0lfQczRzYag2wKeXoiy//jwTw4pW8XYjsRAmEAtnv7ca10v1vf7DnLeNbDP8LhgmTRboLrFYamjit83WuJVvv4+7Hp8rj3Yj3waG2nrwY5DJpSS+lu2E1l2UR1585wRN9muq1ec8Kj5Wxc+yxWjcmlZ9ZISMzUKw5S5hb3Wt/wPc2ohkmOrC7f+0zD+vprN5k5/q8x7K/vp4RYc5kf1cWpGGz2R/F7d5EV+MKvxFy+wXWN8TgF/W3Yl1m4xPPhxCQq7YwH1KWU9e2jWsgNqd4nDeiKR0HF3gj7dKkcbpD8QwxQxj2buRAfiIpXs2nNyEJTW3e1E6c6qpMiS/sk9K8VX9lLfYtyA59YRJDT5nZJYRfOPsDoveus8GDWl01ckqlwnqY012OqFaByUycKVs3n/+u3Ag2ZhRgUcw+RtvayYDSBLhj+ISSSw6FPXXUtMTfjCSDWwjcjMzvnFIrx8zGA8gL32on24rv0wouBYt/P7yrFY9Ozb46/8KE0juKtP1OthOs+yM2QsUNtDu1ztyCx8PkidvZjO8u7nbdJZJpKJ/s47cSAqN8a4H02Ue1BZLidjYoNO3DzIHGJGc7hMnYg9bnNPvWazokaAnMN6pyfJP6BR4Ke7ltecnqZDhta5rmwya6NgcCQWujaUX/Gcnz/boDS7YcywEOq39pfvbsFTESe7Xokuamrg5HvFLE0dPa3jcYUFEGpQbHGpuccm4x94EU7NbR1U29kSu5aokk1DrXFcV/tAI0LfgX4AqtVlaSzkLvHt80KbYv/53FdkmG+4nW/T8IBfO9ZWPzgifVsD8fersaA+RKiOr+g5DO2LMFK27hpnUf3dajEtdlN0nFIDoWdmAcYYmA51fHdY8Mf9sNzzdxspw5wecHFaEC+1Qd3ZH+39gWEea3Zv64zqZvlphqcwHCGfomETNQfXq1mSEK20F5LuOgt+jc3jPl/nNSAod+of02C8Rl07+yAt9J+ifdDifZs2yWM0lQg7oAvM4kANUqddqpis6KfyxELERZe27a6kLhZrw1aiOPwKSqQgxyMxAARTlvwyvd41m/seTP176yXqcgy4iUSqW9Pg/OFdiw6F2LhjuPoJL2eJlYHlP9nsfV6P4dH0gXqibqWVK+ktGMKy+YQTGUIGlQO0ETo6EhXFBV9l+qSSBenYQ1ZywuBCz962FDa03hdDFG2qjCSX4r3wkuwybMk9eooHWrbhJRkBU15xOUYfOzZFCDLZtOf4R/45O4YMgPn2KWZY5HMD6U1WiVLxtrpSlKhTNbOqD8pmFhLctYgGBtHsvpneqyD8M4Qs8YeyOjQUoir14NEC3GQTOppfvlruTGG1MjFS1QWBvoB8o5xCldsRojumEdYTnElMpfskVQwGV9SMkPlLOYWrNBUUxRPwV6N2qPFYMz3ztm+VyaI42WDcUEgrpg5guLwrSj3QPkx7QPinaS+JFKRXoBCrRiJpTdCsuRAYZq8YfgPvKu0TphoX4H9/vBbbt29oYiwdw6jpBFDAE88w+eD73PxHdwi72cRNZvaNTMN68ZKv+moy8bzMeHyZ85gJbytp0UV936fDOQbqNtl6pgYW6r/2Bkm2Z9gC/yCpoQR+e9nY6Siae6zV8aWt8ACjAy+3DsPUF1dyEgnTzNdjnXHhHrRoE8NEXaRUGzpacbtsMfhbnMYeJjdJKAPw5GFNd+mrNn4s+fMkag51y9CJB/7mhrV6Aw4V49rIzqG1SznY0GWaICPnxBAnwHti9L+j7ZNlwnhe0nQMEcUtrYTo6e2drfhLcmTW4QWDowzjc8wFwkamKAhxfANdPdxctjCMGmyiJERQfGusI690kYA3Zuj6HVG3TSsH7mMqOR2rVpoQfNA5L3FbqKH5qAkIMqsgB0ChTfFIZAlWVT6DENFaABHS7dAaj1RIjCiOTtYUUDkZ4bknOYAFdz8g0UCM5J7MAp+A5SIC6qi6tHJfw62xhFCGeEP5NpJAqIXYOvbWPWu2CQKqZ/NSMaMsUYT8uy2f91GDQWsbYqSMuycqUOfeqcTiHYEXJP58R85I9Uw+wM6doSWNi1HMIsdwADkPTI8KqQgxQomJDvxJydtHHIqOdsCnYgh7J24jPgozyy/aT7zGfa/tH4X9SAkpsW94c6iI292RLNU8FJyD6Xqcf4g4+Ulp9kxPmD57T/fqjVfH6PQgUCcr3+1UltEZHiSCevUhmBD+2BxZKUmeHxqlyVmupl0fHk9omQLsNWfy3XdjWU/uzWfj4QY0asul8s7d1uJfj00Y18iOiBD9ybDzRhkn3xDea6P0hgGKMx+bk7Ac2pKbtbkcwBxAZeCwSBRp3RbZGbTHfUUHfBpS9F1ZschEzEdvIf6oH7gvLA227IFnGtyWj1BhkeFqAqk7d0EcZki2MIA50eyAMtTmKeWTXzNxA5krr2c9JTX5HFDE0ACVDxJi00D86UNY7o+WqbiQ4PBhG16UyMLeCISORqq1pz8vZvML6/i04w5+Rj8+R3nbpcEcPPMTrbtsSXad9YrqEn9iEkmuptzmhGEsgJt0/Rjt8ZEO/fyuY1fGvJuXnQReTUFZaw1SQlBuxNCVJVyQVzlAOvR2ZQJWzJzHyAxltUrOrx1rZWofpKOY8rQZ3byIyXxGpFMmw0HJr5MqJgik5kz9UsypfTlddmOBSo1liisSznGrP6H/dwT5qsS6geenD0DRzXnBmrXhDjuS923x7Q/S7XQHwu/nPMrZ0BvTIkZaWzcrwzThpi4BKvV9CdV2Eek8YRTsFPxxzSAnIQXI9Gul2pfeZ2uJC07Ud6pnDk14PLw6KTn4R3Qo9u7bDWKkMvA68A+jDM7IQu70/LfWWCpOdk99K8IyzTHMeOkUx2fUa0LfwzwpJJPZAxhEqQgMeES4OUj243kk5XNF0Phw1uTFlW8+3Y+tsOCMtvKPOWdINuC4lnQRhdzPOyR0fVb6bofFs6MpiB9h4VrI3NnE3DZZ9Pz50eIYKt9rgWHZ0aIzbuofx9uQdU0P7ZqvN9Pdt9uvf/QO6Dy9XLlzWkJtF7TS4hrvo4s88udc6MWxY4sy0WTLnWr5oAdoMPvv/lDNnr4yfDXYhQKSH+Ap7B0wXByzPlNvg0CLcH4j07jrS7YRwkkEbRAUaOgMqPTjI6NSkInxuOhvFusQOhWvzHosYTNE8AP4arhZDOrtKIdztQVk/OrWdivefERZetlhhMNQ//NfHaDavk/c1fTCkJ6z/dgchCmUFng876GrD0ss6edeWBoTsfSNwKlUwVZZ3T40KfmYCNxxaO+qVwhQ9/7NllXrKC+UnGzKOZquAccUL/r6qKm6DSTBOn8/URG2UwEWbV/MvGFrD5eIE+bbOUZUEBKyAoWSZHoJL+3UXBDBw7Op0VOpvfrNfT9gI66bKm+fec9hb7SYnvKSezIRkCrfFwgkXXbm0uRQ9Z3mRqK4389J89x5QUQjGKFCtQRDYbGlZn/HJBsC/QZycZAu/TxFmkG5YK85lwNNkGdfxlIZLkkulTZuDlJb304dUWN7/G4XXUq7wkWSbKm41QW6WlhG9cGev0TFPUSXu2wo17Yzg+agN2EaGvhLy4PnBH45Kb5n+QNdozrDh0i+QkhquuE89MsZu7vJ1QEd9ZSxxDbPgBiFonw9UOmW6wLHu6yoqXYuEUZzs2857iYFjLpjvLW/ldynBr4t9601tRiN44q2/jlb9l7VxRre4+16L/4aoC2LuMkZsXJaH6bvBll3m0fnHZKoYiZk8TtREtOcDWcMoLRxmX4O1U3IfItjM9PChKybq9Ziu9kgyfy789hh7z9Hnynvq+XHT7tRw4n/EpgNqERuuqZebhojHAkTsFzLccgnLTLZN+ZgseJEShAFSGQnPdxDdyY7fuqV7ZTSqQED4N2jZKVNCIeo7c78qq/XK7QGOl1S1/kTLQ4FoAjL9gx0U/iTsmz7wQffYOpsnqTyFEf0ZxNvIvEiIvMCM4nmq/uXSxIC2licsbqze85pK8siJ5evCld34JXynAyOMzxpAx+xKBJWdFcQdH1lDdmd0mAxMrcowoGWo30r4xvi5a7lIb035j0/NqK2+LPeFjOs7e6mDfgReME1bLLMf6CUFYc60vJ4I4zScXbol2E5/8VKJ1n2ZkKF1WzXIC7Q1D4t7JWHiw7CHeDRF0RIUeqr1YmV5hIRuSEXo6f6ObV5Ok8kjCXSva5f/AJct9T5po3bvzzH60ZNesMjcY42Wqn5su0AQxYbOjUD6rc/ezZGhO4M46z4KKvKx+oHLmVjQc+oPDykuUq7wK3NdgVPGeJJf2sOab33KXtFGrWWwhqyGD9zipJptSmHu9kgcW2DcF13qJnDC1An8aIRIaNybYoCm2YcWaDP2ILG1PVHgydk3YWC41j0GbZ9u8csVE+KX1sUp5VyNZ25yJ4CyaeTNY2M2k765iYEFHtCARF76xrEQXQoE3aFK3ctNiOXPPy+btQzefN+ATLRq34WYOTCeU/AcIfU1W7E3yJKT731nFbD5BvcMNdVhiWR6AETrty+9I2P2wOjuLQ7PlawNk7Wv4GNgLpvdRKybyLUO172aXvPHt198ar2V+fvBma+xbUu77N+hYT5dQXag/RFWq1nJfK88CJVYVwnBNAy0I/RJfGt9c/2JC51WNcvwEncjTYzV5lDpbzca3iWn9prF10MEOrR3NsjxrX1si0rmI/VRU/xNFeHfkqLvJi8B3ujfOo0mI3W3P5ufPEkhKgrUbZxAHV5UFtHbMU3LNqXB9sO9clSIfIlcS+q80cnTI3NQV0dfBw3juKjAGMIl1uCSKq5M5JTAcKN+YSMHkKGPdEMM8aODPBixZV09KNPHCh0iF98xcu7+wZLvEPB2m2eTIdAznXQITHCSyq/wyVo6VSRY81iHusNWeDxrk5bwNVLMBgtG3LBHJ2ckSWOOzCDvTWOGdwMrKhsYNKYZarsDJOgoCNegTxSw2MzU3/sWCXdTU7+Se58cD0huMZFEiqjcWjFl3Sk2e1+UvZ/Xz20sblAs3M/IFcBSuVn1i04DYAQor8ns2zn22UVbfLOSzY5C9I6j2TA9Ft8r775FaZDeFmtDG9zius7KhyBFlyboypVpD4O59pX5yIcIAAB2B1nIn7+AHuxrLDJOKLgFqaV/gOGpAgeHgl/KOuDHLdzruJXJqt500HHoLyv8+sE188pjT+wmCiMEkOQWuMH4RDyYrUnD3ZZ2FgQiX23NT9Z22u99ojRzfIVu23ro4pRbXCAd3inm1byHHODvarDcmHVCX1VUw1c9q4S8OdJWhkH0vpB0FISIeEMELestj7+1w8Ci8JF3lT5X8464woTtj/dE1LXrFEyca9wAb5LbkP5aBgXn+g0IPkm7OfEIoKtG7h4MA1YJ7SZ8DMFBwM/mrm6GvCnq60V/B6mhtzlL4/MePTTIP6oZNoIE3m91t1yIZhXef+k6YgSOcLJ2Z829gCorN3q/KlYNMsy0WPyv5LyqOHbQBVq1YVew21dsu+nWVuIGU12K4abl3YeTD2NQFTd7hu3iLZX9qUoJfIj4Zv6g6ytWP+jiMsFN66seksfkJPPsfIENIR+eEs3lLdEKyIUIMHPTTBT0xlkFgJqj/S4O//tBWt0f18buCm9Fz1vewgYSpKN2yQeZWY6aHTeSucMrO/5kUb0bf4sfPq4okmZypjikQj6kqS+/jzQaUKDiEJjLi3eH1A6cNVj/CQrdEv0V+KGSBr7elmTgdUub8362GIjo999LxcjN8Uzb50N/POoF5UwiYjfrnNTwd/F0A8hLXWN8hvm8jsxtZot13WU8Ok+JNd75VPCnI0Y0oiIKkW8iU1LbLVKtj140q+CwXuV9GtAA06e/Oc6SN63lcSL76WphtMS2wf7ZHxLJITkxLpu3300j/fpnoc/2hKfHXAAe48E9b/qWtk0ZT8cj94LWf5+/Y+/dvM3BWk4pVmkRFKQWFUQ/eUz4JkKfBSOcpvzEin/g2x0izt9H9j9ub0ZM07DBamSMxujA6JEFugSRtJ8g/+cS5fo+rOV610qbmT8ZLeaPStAR/p9Mo/xT9y/3C+K6r/R2/1hv/ZhMZDHKSoJjfC7SK8w/QZQBGz2daFLrUzs+QT7Glfy7DJG8lZTPUWA7/Ka20BgGBLXh6l9Dp5I2LHx8/fYz5nBTf9HcIU1VAbtzZaVBGhV2bMCOqwQOQmu922AslIzWn29/PORA/BRmELVQO50yGLUBKgEVsYXcLpjOo/tgC4qyHVYne9tLZ0OxBQjt4/Rc6obAN5lXUY5gAT+WXiveXvm0n7eXF06tT2wJx07pt9Ld/S6+EwRu/SbqZxqhqB6d1CqIgkr7QYOeA2IQkavcYhMWj9ogmQQYgnE7OoDRR7yNtaqPLKVU29wvaNAjexIbK1hDEEjYI3GyJ65xydPassMNRArtJIRXDR7HmxO5o35LhQBZV/W6jdbRgtIt5VwIkNHHm/HR7pDAPHawcqWERbIn/InysHyzRlJAzcIn1rigUFWbGEcFCqBzBII/7XjFNgm9VjAIY7ycznavUvZ+phae846P3lliNogsyRLD7/hUZUdVdPyxPmanF98l0FkJjgFhxZsLVC7KMJGvEfiLLlNK60fosxQ6Qa/XKtgA5OK54K/r+pu9EFQCbXx3ddx1Z7DZ/tofV3mSZ+9iRmmCRPJ4FVXnbUFsrVU6l9QslImH7qIPzKJkg61cwFtg6Y6wp2UE0ABub1V62xaBIGS1wnLI7jVuA0b9Ap3tByOOWE41hWtTr7d9WUx2Zrf32+0dDBAtPBbf1nbIk3bOk+XRFZDBz2i6oSuXQrr9lCUiiuBm0187WKV19fuCiX/rgUzBQmHTzbpA9lP+ybjw0cI1JHn/NiUOhY9nIQrvVdkKewdm95eePblHuDn1NdkhTMBfHe+ySeB8LsGZHK3uozmQBkCs0H4KFEEPGMS5vp2a7yyU6Q1MSVNVREUrTdDf8Na9SC6ZoOglQiWf4GzSpKgfwUB2U2dQWt8s0ddq7RqojQ0Lt65Su1owkDNXqUh2yD/65Vwd20wON3u68bRtY257jrtKIdlXK05LVpdaC1d5qi6BGtVxqSuStVVFFF4b2uEtsaKw3qqbS0GQJkbvwNcPULhCg0fWJS7kx0g1odOHu4kadg4hZtYnZhUHx9rSr/oocUyZc5pCj/v57BXvjKY7pbEo/VA9ettNZAKCaYA6L0hm5jMe0XzR2nk9+lqH6D6vGUtNv8LrYs3vfMnzAht04+LeHuTDCPzrQ+NdhlZMfQ6N92ZOSd1J5WkgWoQCGfjYJ3crWFA7BlyB/eEk4G9db94mqV2e7zeMWt8qOHd6dBtLH2JyLiCyC8baAJAF2isJSVfts/YxqdmkXwxRDLOZavoMp9qUGuIyiOkG0uBKUPvdJv2+BxVUpSGdO1GstceuYouyBAjzyPRIAczq5eCG3keTKOgeVh3fFX8Lrc8h42xCZebZls5y+UyjUF7um8lu5eRGRkQv+M7qaE6282nW9ti3uzWuWJXIe6uk9Ddx3FmRLPhk+T5GQnA3XFqC/QKTvHktxSD0wBE5cNxgTy6E9EKfkFRIAfrINc1ZAgLkeITwxDei+hrlaCdA00m8qKkDBD/ARt44qgl4zrJXCu1Xr159uCMRlDmfc5laz+vLBkI6W+eU0Hk8XdlcLxZibwcqaHtPH68J8r/eHpH5CQ0qMdLWhrN4U+a7YU3jnirr37DuOYvdYgSzspE1Hjw0vkmAy2mKL5uK9mpgmr9qZWaqYOgCKS/t64Fr30kAeSb/IqY2KAGo5HuW+bAdV06+UN7fPKXRPP8UcJvW/8Supo8hieatsbgcDKo2aHrwfDgbTh8BQzdlcYK7NPbyOsRF8WFik77/sgZNDBdiP2nFvgzrZH6f7QXqGF/neENAbpC8Yn+dQtjyw7wEcnBzp4gKgutHw2aitFW31pmCMPRezOVnYUcTw/hiPv3Uoih83QUxGfRgw+oO3LPo97oXrOGjxqvPLSzWkrBKUIllI+tIypr+sTnKCb6XPNThViZBJ+t/9i5j2t4Lsa1heBWbJPev2uW6uaek8puvmbyGS3EtUs/ctNWPqK87F1wqBiGQAFEvuqcZ61jhWFZoOW2/7fexTbs6bHj/ilcheBg45+CPNcouoADaXX8JovmoDV1f2kfgTY4fvdXFH8vRLi6GG+/4aV89T2qqKPZYO5Z0aCL2d0zOZnt9JwYwG6EPBoS92CcOB4DkXH7ai2yeF0Q7nkC9vQbqi/qTHnHhHLptPi2eTq40e4DuEmN4lmH6bdPOO42n4ZCBTZFS1IbOmD2pmSFHEp7mlTkyKokV1MB9VikoiNA+Wf3NCdkymWRH/FG50vdtkKiCBKL9QxITTZ+79TubkNU6f4m6Wi5D1evnRpRXC16lOIZGr5l7TsbAHJGqUWPEJKPum3qcU5HHDLYrY0BGx3K7B7+1XjDltunwOKpiMMiXZxIt6AtAj3yEX9/PkdLOu1b5/vfvUCL179FbOpGmmSYyS23vhectAm1t/u+P01Zd+3jylzZZKJcpCf1iI6u/WVezaCwdggvBuYbrf/3AAXJ9OBNWwzOi/l+SuprdpQhXniGQ4KAVmUnGkc0/gGgToaMz/0SBsxvaFu+JnOCocEyPTkwG+EpQwihtXZH5LCDOdM30maq0xJWMyx/VeNLNquDf0eg+4EfuuHlV0nvtGnOgLfRiZ2LZ7dZZtEekKrAlcRJ6mbPRkaMCNCbd7bdWdHwAL9YGWZ2BJLhKbAKDXgA6bsAg4sRmNH7QINgmBAYf1kyxg5i2LAk/s1QBvLe+B7gk+Vns2TFAfpju89wbN9RzrkzXLMEqNixfpbcO0MTlg9wU1jibtf6P2zqEXpeGZIK9CZIrvcPaS6tDlDKgyTXO8E5pkFdExFGJqH8RQJP4lDOaAYwLk644ShrJvApHhOhhv31Fz8MOeBgg2kVkmIY/6tHAGsWxIki8vbXyvWmGkK9UhpmZ7w+P/PY6CX0F/u+we9PK2y7D0afhw3o+FXHMfu2YmFb6HvYPZsDs5IwwyN4zbi+TOJBvGqi62gM+YzBwya9d4bhOlEQkZncm8lbFPxcnBN1+kRx0PSUFMtLEL7A1hWsiwks43fyKSUPOWF8Q0AzSzw+9DtrSMBKTN+cHNQhJTtmyyHGpeaZXi2orqC/xjJuGTmi0Lt318ZpwYCOgN7xIHh+RdP7VO6fd8PHqVtjJvXnDvhaDori/u0Ss/j/dmueznV+m55lVUubeJl9etkgb8V8XJREqwGF/lzK8BkegW17pmx8Kp0QVCaXz3AlPKnBGcJiglIF6HIX8mR2ftM54PXXCi9kbumkFWXb60cC4idUMMRwqyhnag1iVRlLuYijOt6U/PVWH5HtSGa9M7/+H4dSSYwbiyUkB3TDURuq8yZ2o5jfW/sjU4Dt+sF/fXdlzupB0UAkEclFPJZ6n0olyP2FgO6B3VmC1LK4cfkbQ7KDD3vQcWlvUtGqMJBbntVfUBXavD4NkxVY/UfKy1Azsh/K7YULdjIgD3ZiqCu7k1YBhrESyueuF1Y/NYqLPdIadZqhecrdsCafsA8rbSkrXhv9wULSI9ZA6OHHttd+SM6L6zk/ybfMtOCyY7/TO+uw9Wdbb3MdkdQw5ykXNbzySAEozFrQR5mmK1pf/z73BLiSKbjaAHjtXRgDUT13i9dy7eqIgmFdfgIvHqytD266VDDf6hiNIteMPHPR4kK8oBCRxOJarzeMm1eCr5CFq7cUL6mf4QCkdfaUjX3UzU4pG8d/E/ULf25nOrTnmCYsFr78otySxSx/i0UyAfsLOAkUYJ4hXfccy/mNUNZmMpNjz9agQO/WV5Hpk02V2Iw7gTw2ftxcej9kTQaxv4O28AJiatCywCxGNo3n2RGfMylJup07hAk/Ouq5dn0hPF/x2FkYHFhlD7XcupGBiwCmoUDpFvrd7wiYpIS9YQqt7FWNQxsmNqok8QdeclVG+wJ3R6L3bpYV9KY/1u/xOLAPVClcCiYtIzBgIAMRF9n8/OLZlO4Vq7brnE2DhLDiUOeWgHGD1t7Pkji7vz7+/2TXs1VwSC+uJXwnS5Kjp+xbaANjFlYLOORT4ts8uiTRGi6m8dguxXwep2jlttY5HxnRdg3ReqgodOrK0X9D6W5McHTKgmRJQFKT42uCbC8YBER+tFCmfgKyoBwi+MxmDgPm3C9cL77ulUg3m6M9R5N15s+st52woZXNrR9NbiMgEL974w2N7ep0FXmmtX/Gbpw649IdWHnz4y1kdmFpWWCvcGtsrHFKQxMnZNYi77tF2s+eIzLhuS54WDOVTo4rxRX/s3mlJGcoFNJndjOiWLV93qxXR+rzb3wVOYth1gt/80vgOTpVrcxBGu85yFtYBuMP1G1uD1TjpuEAk9RgZYsjyD7Jb7/gFdEOrvo39nH5wFfLHZzHIvE1Vt0CECHui3+BzTa/RV0XULDOM1blhl83piuzmOxBWWReNRWL6aXySaQje7NVrpaCEu4LmRYJq3btEQ1COyK3mMUo2I8nJ3jfZ05nnrimgdZ59iDoMkymbrN2td8JYGiW+CbLAJKVHzNs9jZoc5pXbKAaF00WLoeABkkEmTeEWghfdCJswG24WhkBmkApRVFTqkFWT5IebUYzub16AE3FoOCnTNb5n+5i9AKhhf8O9hyu7b9NSivuQSuFsliwZircRV009hr2rD8jAVfcUymYIbhI0a7pSCsScAKKOlvdvT7ExTq8tZq9DGTPgt57Oykw05pqhvcTXRDT6d7hR8cITglAT7B7kMO9dsSs4VqHWQMD4vv6ETJpDsGthvkavCrK34peYzhgPhc73WXUkOafdGujcykXglLpfAL+eYzb1ihmyncaPiBeOI36IhHKst31/mKZu85IfiaPm3ZTxlJizPyzT4FywjnWdakA4ZEUVgHUq9tVIOR8xgMWBbMVbA07/yGAhkCyP7RIBZ8lmueIdYH1msCBRJbLJgXyQWLXrxY7bEr41BHhcYJy/gOGzPXf6CQ7D6bIeKDD1Tz1n9zaTNOnsMSfXmaS0yIAnHC3kLxqncvYfJo26ybGRRxncgLBooVJvUAgDTRwtgEvr/vEsHn/46hcsPXCGzVwwAEQOCcDszCIbdhNcIBKAAf0bUrawlkiazPGE2QeJcV6hznhcORONeolbmcKjSbe3yfRu3szaC4287tnNcedbsx5ibWC25b3Svo9pM2Xj97cHc0aSaYEciyCHKqm1XE/SikbPMbzPVl7ojI/adejuHOJr+ryCFEZG0l2GbuhuUbCgAPwM8fbARQ5I6f/VqWaF7LH8/mmQtMm06Rwnktd/dkwVCk9tK6IpnzCWxw9XnRv5+YJufuf5HRSLLsCe9bF3Vb2D46lhyhfFPgVKP+taBhB9LakaEBFkpheTZtpJSEAGZgoJ0xJe+Ln61nWMDi+ukl/NTm1M3KXwrLa8BaU/VXDtf8pAzz59xR6565F/FPOSzwT8xUeYUSrKod2bf9SA69jmhs1vgOpGviis5jc+atL7gs42XIEKrMG5O7/s8kt3TeQ0N4R2BaRE223gSJvUBmoZQrHUcNgFuKwMK4PLxdrb4DHS4yzaFkGxXNNq/XNMdm8+/MenflpYXunGl+/IuDhjW/XbD2S8g1w8N0qKcyrREOOxpXdmG6O18SCbFRemV9yXzP6Nmlv8ObgXy3cugV7BTFCD2niCmdOxCd6iVgzWsyhzxsp8+GkyEyZkmb5ojFQknAeHbdt8Ajax8hwb8uELnzkWuTDuQnrn9EfLWiX1mqbjQgLThWOyxLFehVstDUvu4wrYINGlAKz6jzVN7RPEkUrdX3vJFes7KZeKoTBWTSD996C+sS/evH78HkQkanm0P4c/+LeUN2D5NQT5+w2z6phIQnCFsovjO843Yae9f9mi6S6FziVvaayxo0bisJE/3jRQYznrsqr7v8budk2n2PiTh1DHKAFxPx44bYQTrZg2NWFo/vgYDXtDpXQarSm0rhmDpNRx9bH5DIllQHHJjSKizptJlgwPCGhKXdBC7hKEngRTmn2Mwo3cxEO3KGQgSfO4bT0P4tWNx7LjtxEelcqgjg7aUAV4mzN94F+D1+Z6zKQ8FszA5nQR6L2Fp3n8szvP5VWlSZ6VesyJwV2liSINQjJEFMqQBmZ9dKOK7hLsHaARFkfv5OFdaXmeq6zAuHTyq5dhrDPWKkBWZ9j43ENEvEMB6wgtP1sIs2Zjkm1vp3QsXmV+21FloL7CsGrPtVAOxHrseY1x6NzAtvQOvE+PeaAALBxLk2T8VhjWans6wl5nn6xmIHECgx1bhQkgUEEY+m41AVjXJfg0Cq1+E/RoNm/qT85us5uyvz3Ahq7Kv5hvImGYIgP/pGKVvgHiek0FYzoYZWXUUsdGKwBbcjM1B3vmuWXGpmht4pRNaVu+6hWinBwRIn8qkOaOg099YC49UAaKCPJcqAcYgj/OVajIg9szDL3WfzBNqstC9dH8iirsHFZRl4HoMcXNluThAZdJIFgSTHyZyEFRbbchTxghc/UnDATg0mSYCpSxP15IrTGYISmdZe+c9nsAAYbapP6/V6JGnBT7dLoM8nWCBJMi2ENovhVLcbRTjGtvE7mouvj0Bo+hZGXyBb1CcASjtt7gMk+fngvinUk4OvCduRvHINmBQY9A1tlAypJak51byl6tDRyvw1owchn4ZjSRq1rF1tSStpWBjbx1lPEm2Kkknd4Y5MzE3AOlHheOiRRzlZiXTpeKNCMZA5zR0qzxDrpvxIne5NI3VZSISf3wKcukVIpBbVJwVSBFk15oUY+8LBfGOb1Hjf3YtWxkLFt6oCSeROqntcPZicbySnwIbMlE1ZmkvsqBN8+RtF/eX8zGnNA1FMACSlSaj4AYEP6iaNgmyy6MmuTbt+nXTpgnTbOO5bWN74kJilZwwINnj6fhAo5gZawrN9UhKwjCgM3/GmTn7eVebSnBJKgbBHIri/G+GUI4fT3ou5KXGRb7Eo0wtd14Ug5kH7t0VYegBKa2IcRy9g/GsyHIX0NTj2Ta37dbA825ptpheOAAFN3hhD/ZUeIsIsLM/2pdspR/pJnbNKwReiknRolGEZh/SWfdXVEGr0u4v/Zhq++uCIx8OiUj909mzq3xJBJml1uMKx48XjR9Ayfm37P+yneFm3js2fwwhd5SY8CUo5Yxi/QV4bcyTc1X4aYMOwil3330WKlJwvW8FUPNPpEkFa6Z1e4WE2ffnjSc0l8RjnZbNxHnTxUC+My0M6IUVWZXYeijZ3Kuao/Z8fDTJJWZOgauQ9X15tTKto6IO3uDieRcBUf4dhXG0TLZ1DHg1FpFBnT2YlGSgruNMjjXRmLhHW6z1B9Z9iqr466n8A6flJaAkKjh1g9H5vsr/zP4TgBFliYuHwiNg1UV/fDePAlY8XphRDd6LjsR3KfBaHIiaqNSwEPAxj7R6dDAfurawncuw3e9ARR+qDBUPwVXak11wlCNBEzuDDqfM0euYYc6mEzu+/NXnJhFukIhAty9TbP+622ALNRNLZpG4OglqWYx+tHmoJYMyiFiJc+liCN2G69JMWuQ0xKdMLTS8H/vMNfI90TYcXslXGa/ukEGz/FBsSxuUsUswWKFVHRRJVG1nkW9bheOsgq31Bn2qabCDSqZQtJGypkmX3Xx/XXFHgJpVW9kOlmpH6ljP6+dU0zKkdWWDQG3c/s2KnF6pqNKAE0N3ITuEvz9CUOUExaGCOLXhIEV3CUkbnTbKUAD23bPM8ci1VZ7cnWVdMjz+AquuUK4sIr23PM6WxfeY0uGjbpqv/d8A73j8awYvePYsaU8HqXCyL99prY8cIQwF2JNKUxu1Mkc/qXSdShgmbghrPu7HRydxyTuHKIuJeNYuXp1HMsjOe3Dp9qF9l9hLRHQJvU1+LQnl4Y+vnGXodHyw4CaGt8zYArfAPXPe7zeU50sa8jupGI92DEYqK5gjSXOjzwzZBiVsa/JmCEPRlvjACBf4auW2DMt3OuE4JfqX1oaWcF4uvv5GIRcbc1ORKJMG4hE4bBn1gBVywk/BgFRGB0+8r+hK04d9nfjbUYnWLBIOCHzZZ4uGox38g15wPYac5eY99D0UHkh23Ltb78R6Fg4MpJGVWub7TLGy3vuuv49pmKKvpKdSMso4Ya65NX36v30qMwz8jxpTmgs7HUuPbwaEniTgPFRx1ulMu3qrkt0DlHwjHVdL3S18qsOkxxWDxYJhTC2KXxYItTSkzRUwPfs+ptTcKnBju6JRUpcl+W+atHWMcYHLSekcjjXkPGuCxi54xZR6onrocb3O7Zu/GFvbTe6IKHt5RBqYksIatmIU5dh3NroW3oOYUk+PMrGFGJ0dh3OBAeqVL8sPx0MFGIlKuWPxOs9DLfyMzQ83qy4ktCDFborLBAUplGhGE8n+f1JDfPlHURqp2EKfy8u4obQ/yOD6busLROxm66vIqdWwdJOOYMPQnM2F2ZEiMX53KMfZmnUcHDEY4zd4NrJ5QJcEW2j6uEjHz39H128XPPS7tVcM/9O7YSck0Yb9zbxxMDaY2h8bZ2g9etBhzzUYfhD4t0EM4ouIGkTzTgroyFzZ1bNhWCSZBjLPgfjtB/gFmFOE+4JM8B9hvOkmh9a2fCFfLz30+kcCLlIkbHG6sEW15hwDnP1q8bYu6YHGXc3RGmAiaGTe1UE7YXv1D1GsdjgzBAdOoLu9EgMfQ7n3fenVf+djIl/FMcjQIQMiHVN0rU574ZiOalCRNrO7kHj25jrMnAeBDZu2GveEK4L27lpE+M0+wAjyNadB1XAgmJXmopwyBSC2cz7++aUhUO45kxD3baR/LchiQ22e0MqXeoWpea9wZGFQFyROacITYZKymxMigUYEOJsg0IaF48VTErC3PkHXg7cnBcOrRF10V0sSJaKduVUzNu/jGMfIa64HECL3yOmrxAHaFl+HC++32XaHCNOduMGSc7Q98Pf43Pe48CU2iHXzaQAeAnFzMpMnrd5HNVr5Ey/AApC/DWiIyihCVjfjKNZZ7VcR+OLrr7GsN17EwRzmuWVTYESFoIWN5JkMM+XrCnirLEO7ckVPnXkEY/EEjpK6oZ9EuJcsHCt/QHLct+Ekx86piGTmRz+gMsUBvqqqSrF/A9NAWttGq8pKXQE6693driQT1zFa2kQqGmRu1vpKi9IvSTNDT2Ji1YJoLE3AqW1kzA44xEvzZxtj63Hm8Ird1Hj150t2rlqJO+FNrpOOH9VTiym6f5fkU0OELiX6Nm68tw+6Wy91RE8pkV0JQWLqqnqlsrnt+YnjbfkZmgWF6QU4ssJqldxlW4lWVzMIMTmhlAvwZQJ0dq4r+1L1B0O7feVBiupKQkZOGqog/5W84Wshm+K5Q9IlHEuisI4XZPHDS5Ih2DL1+QQzlxH7Vo+MU0PHnjvpbqwaVFhBSd1rCM2kCGEw2O92ssskrmSu+su431eXDjZ7oom2GFWAvAIjpb1GodqUZBk+6pGRq+6jlVCX1mfOcZLESo1b31GBc0DwNbCYxjBerk8AvFoSMVAA9A4PdghmbZTzgB86D5YBrJpP5DSdUsnQiPOgwFKKVbqKaxi5XdMwzJPhH6T9Ao5DTjHqtNE6JWozrdXr8BMhGIwsFtfzlk0Z5QG08tzhx0/lJDE7/ybEzybJnJFVViCWsXgvsdyIDaixoRCO9N7MDP5Q298VrRNHuPz8HHc/B+A5yWQOxeTxTZg3RmQHetyJHVHIb1U7LGBWUXZzDOKB+wtWRsbElNtc2eJhuOCjLyRy3u5Je71xBGr+JJgmpL57UjGV6wcASEAuAoHdPb9QQoN2vgK9P+HFmqq0R0EC9yKu8Ew2eikIuP1WhzHUmvktkEjTkAj1xRv17LFuO0hp7jO8gTcYZzHv4oI/41IxCnGGEKAgJHBfBwXXyTnFePer9pqVCVGqd966bt0+IZpNDlZ11fCELYB2qnLlbzLY0AmSXgW5u1rQS3DtxqNx8NyComnW4cUMC16atBaGFdQJ4SwotxoQUAWtz4cUx+vN02M6T6cxx2vSvc9aB5AdADIVa4UvgbUWLn+R+yOCTmqe1Yht2CNP0N5HDrVmR+0rYG1mn64PuPvXpr1grKnjHWIwx0d6hJz+zp2B47IR+ndJdwoQqYHBKmK1WcJdOFRs/BbQjMDwYbUgboLMtBHWQDmtv9gQpJyVStEN3RD1SZvXLgcam31chqe5Sxj6ybY5WwBjcn2TsMtwZGID37eysNoVK/cPzAROhjCK11E0235jBSq1e2WuGuSd90EKoaJJ2O0GPhy2qGkBDgQL0I3k/5L4Z9FMyQVSZ4lXbGdaQ6Y18V20aClDQZnBztoutpaWK6Rn79PWs9XnZBqh9jftiLYF8oQ3aolykiBxoiuItYP49k7276lZx3EH8CBVJsOKsds65N0XNeNGKw8ZLivUCkPGNyR5Dg5f9S2o20TKEitmGQjGnXh+w4xXzGW3LUfWa3ubUhPFcs1TIojwuBJ79lT7yQOtctobyFZIT1q/GRG8+hCoiRSib/+Ehf6PMZMeAONRie57wrOCs1o+elzw+KT5Tth4ZRX646R16zD6p6d9tzdxV6zVmqaHbdi93/ToS3VRF5GN0/YPe/mcVvvkLfWCXcvLeenl/gEDY3HplpfCYmClKkfUqpgBgXNGI6n2LlFcek9PourjWMr3OZ6wibcp/1xGyEnPbRt2rBGLX636OB8V6YRH9hwRJyb4SfFa2v2ReRZ6hLyhF7gDlIqHI9o9mJCWEEJ/uGj/9OiDC3pN53u1XjAZT5MvlmfIIYeojVXwAugmBRfyiD3MMsAI+1WWZcMaLkOh9ynd/H0PeNsaktkIKR1oPn8n8AyySGCkVKIrAuygfSo4s/EOVHyOqIlrBtReFDGMNkZWeXplASNu8lxnUty4jAzORyzdYTKrWjZ66hqHmeyPxBk4drEoZkcZc+wa9HXPBs5G4QpjT3nLA7ksyy2hd0WwZC2qiUwcIieGkF2PpsquzttwiBrK3ez0YO9no9toIcXDwFQzA4d6YOxx/X5EUhxf9xWnwVg6cvVqC5gbc/cccJIw1hm0eKPPCpnymAm/5yxpNusAxwfy9FSkeCVwtQHYicOVH8TvTjsYNh2IYs85xcHVczJM6Cqzjl9ZozmAstO7eSUd/lvskiUnRN3EmRU5R5z1JDNInZoceCu+za2DteljhDcUT2thfGsEfwGNrE75IBsWUnlMFhbvs7NWjeuCuQTeJWr7xL0GT9F7K9L/+vuXpjGUBES5/jes7Pgfs6svd0fUEoIxCGKFFu9LnKs0vAhYP3poIVe5M7GkmSwVcksOdKWZdYBlDBHNRdHxS8pw1km/URG4FS1c8sl1berhXHAas0c6d8vpKK7wZBY8GsUeHQqzy/Uqkvfrv/2vuybQQuFINrxmyeut+Ds/thyPVkHRXlXTOffHmQQ8Ufq6EBFp1EVdSPbeacSnsNV9+7uY0foJbfUyO6SVwtOMJMS3hfeik4p6ETX82sD16jSlrqmCcsq1T1aWtxRexnU/mVHGsPZLeQlxaAkCuc97vH2L9fFipMPADv+pW2r8AwEVP6nq/RswxVsOlvckTWknoNPgBzt8cXSavIRP7hT9HvdsV9+vjynr4OrRrmApha6Yq6u/35Tht7u1hqFs4td1n6RaOksLVmwoZHa76H6NHeGqdWMLPA4gte/AxPMlFsorJOmimQJQyTkcmsy6lGZZu37prpMc2WKkmMxqeXtcfPQV8o+ty3liHLTV+fNmfO9SRRwszycRJoiGk4qfxRuKwXLPaUdBcvdjDWiFvhKclAx9yBJpb9QZ7iSBUc8ZaxH8Jbq6WLydTmJavFnL1lgXYQLo4qFzKjVH9jY2DZfweVIGCUzjuzTzZ7yc5wYQtmPGNmAgL2AZhKRJdJjzKY79obhNsxF2eLKt1w4kRPZevgsiVKkro2CTZFOVJ5YDoDqzmelRfzAwevNfqSaUCOxLi38NhJsyw79uPMjD2ugKzNClcB25AXOTxkP6pMoGI8nDqjFsk18UBrM8cqSycB8fJMh/dLEUQ/1zY5R99kOpkyt0jE0ViHMpfPiF2zyX9YtREGhfSyniJDWojIUejQAVSl5Ws4GudMxu3pUTnm1uae1JzJVHhC2gh8JgLYJFB9IFI897FeDN/7p2jnL2DUcI84bfzkqhAEN/hSS3xl8Qb/s2LjXvt1Xh1oQvVJhQmHXqxRyQsOfUB/8+pG6YUMyWhPknyFVqmm1hXJs/gM0RmuTg8ZjexxceZQ8j/LzsN+6UzWmuvMo5MFe7m6uRa3c7ukzMAJEaATUDnzmIKIm4pU5fhFBJe6aJVJC5oO5+7QTpozzZLv3F1TGC9TUivzMIPPa6ps3Hvg8MOwjO8zndk+xgOCP4RSRP1MQ3GPAyuEthGmqSALDIGhn2IbaNEciysRzhTXR72NWB/AzpCeeFzz2WEj9csw7TdbgaNMVQEcC8E6YvbL3YVWenb64yxITRFp5PUVerLnmN+cwVu5iOwJyd/Nu2eTMWzZ3MpOO3fN9Uuupy86+iHKrPr3qutlZeW92+wM5AhBAlO4hdVEkuyy8rWA926KjgyQb8WFkHiJtIhg27ZqiZfxApk+0OkfMW0IbWbI+G2nPW7J63RXL1n/oW+CUI0u2SOXnnxF9B0Gf41W18INkM72pdD6q7fV7qUi33V5oS9bES8ef/7ICaz0xFPRnhMzz3F+LCbZeckn+q4QAukIhtseI8HZ8NfllUGK/jV5I+I6Vvx5F38dB0OB5Uhai1tbgqeppXs3hALgycvfg8Eiqrpr8hB838khl4RagCMqnO2/nVKmzJVyqIKN86UVINFeii1YYkxogD6s0ecZmrA2mrx0r+tnCMWnL3F3Uo0DddNl3ye+aTvD9XYkEVxz0uMj3GwjZtJiw8UgmXoEkiP4HJRx/2Q993cAEByfgU31UKv+TjvkvUC6OClQN5nXLXwAKk4hDQrITrigrDZh6q7pJP/7uLktw/bTd7TkcJUqABVL4bkskGWHF1dC/AWW2ycrXa7DhXAxWiMXMi6uDLjWh7UIRPknKMW9p6mFbbYdFQUJQBHwXb8+iFkByZJKIIvZQlrTGiXiImztf7A2PS/iKY7dNrimpbpLyraOR7DQIrxu2OQXc+QxyeeET2NJrhvX8KXuYz6lgOSPnfcYKEERLegZXFiJV1iR5qMLWgvSE7u6unUL+6SgwQpxOhzAexbuCV7BFTYZTwsXwVM7NTZITrOxbJEe2qUefjn/estPufBJEbgCj8LWKhjiC0ksHXVCtkK2xPbDEht2S/BhAaithpz2rqMoeFXEMKw2EPS2XzT8j8TKz4e+iZnzyltuabgXMK7sRy/z3WBFIUyjOVm5KWMzrMYccb4rn51+YpeI+bDrO97znBbBpli+TP22HikK8BLn8x3fzrjdn4s2kCpNLs4yklzeTCpZByfzhLRBRGO4f4BXeOy/lk1WTEFAOUcBkhfMuD1aBFFzmNMBtmXw2ojLjMCvH4b8fya8q0LO/DhzSfktu9/Bgu3Qru6bU8D8fjYEFJREYIFjQeQ2usHaHHlXl98EwTG+7xmRR26aDrogJicMlqO68RaudJZkMB70tuvKncstK3LibUpvGAQ24EeonQxW22XGsZ/MsudsnobdXA+HFydi3G7rTqjnIKFWgzTWaEAMJtkJnQkURQqp/pG88/hU5AwqwO1aXIX5u04mUlu9itds7F1G4B4wKXPTewc0usF47M2PUKbA7f1RC2+3hUyP/M0iIqzKMnC3pGvRqS82k0EN0f9y6PohaF64grbHv51ez5qUJ2qoHC7PjKr3ahj3j0jczuW3OcUU0SHodf1IFkrvfRlGvh0YpyRqrogQ1MZ0LtyBwbc4S4AQRnzzdYoR8cE+vDBVG1bTeHKFNfJqgFvL6RWmIXIUtH/yLc4fBip3vVy18KIdtuRxZLmOuPhNt98BqhyOBiXGNnU2FyjEnjkqLp1MnWYcjQDFGZwATtzG4h8Qt3+1BZSIxKkiX9+9ZU/+vxiFsBfkbaPXZmhkadQjK2Sb05KU9w/eRUpSh/Cqof3uUSwZAF5TjIQ16EPa/BNu4c0s0gaUmCNT0YCOWk4vyoWqJfoxOrOEIh+8jd7Z74aLMvR4/aMVtqFibff7bV1+IV9oJtC6aFJLokXS9TIYJUVQOyimOm4a5KL9nDSX+LD6piRyBbcmrfzCIrqOk8gfqjTKi8GiXW8Es6bwwtcaXcTHc7UzmtL4M3SUjbeb8pZ1YlIRac2tclXJJhMjqcoEEUc9rTAduvY0Zf1kTrs62y8Zqrpd0gV76J3vSDdkb2pMg87i8Fvivjyx/RsgwsjUHcEdYSJzYJxO0IsajPMNMEfhUaFJd/PYi14vneUKmuIwUVgpWNaQsFX+rkr8heOZR9jPSTdw8uRMZZKJo6anneCVSsmLdbjWiVr1cvo9xK2Aga7U/pJ8TaGKizBLzC4UdFoJsAXbHp7rHOw5Y8xStY0Cp0MOHN5Xk8zHoABkkqCwhyGnK69RKpycA0C9IcIjpn/fVgjQsLaYAznCJ8mLRlmjX5M6rZig5lG7K54HzbdGgNK6TYSg4LXci84YJ40AXvpa7I8ycwp0M/6+585nglCbx3kdTlvOzWKCpbwZAC0DbeZU14iua1wx81I7744slzs6mbzNfkpuAVDoSOcDn3AtG7p/70yGW7OQSPtbO43MRPYmIa+SfutyBu7YM5VEDkeIWZlKUp/4bVtllGd+/I10xcX2IhHHrOT6YXRlna6efGteMg5pS87OMKLU+wtRFqsczSgjoHGsdosYNwuI43Hectj/Z7jf2kvBKnN+A4JzO2pRKglolIQxR7lXX0+/3WC/zhhquyEsfCN7qx1BethW4Ef7xrFW5WcBJU4dEnYzFrcKxZP9Fx8tfbDL6icJePzcofHbqF1XL+GAcPtFekz8y1yfc+yFGqKQsd1vLjYUw/MLlEe/nhytfHy0w9yfVDAA1x4/bsoWAJFMJ+DJ/JSUz3vmI5EPF4kCQvD6+JV9ec7FK80jP2T1dk0yXQbsG3QK0vipXP9iZyIlOGW2X46FF75D9m5MH7DAsuIzGInGOr5xRD2hsf8Bbe62Eo9k7w552bbs0nhUvvDqtfznZoS5HSBnFiRkWTxNzD9fGJWnsAQZAps4OM9cpDbCAOvW00MSjKB4MuFTJw46uK7xwjSaLQ8Yhbq4G3KEkviABfSsxL2jXsD1yBrNgtmYvisjhWVvrVFDDqLSP31t7zjdmn7/cylZz4BawBJDwoWFVMKcNPEKbYpxpA7Lsul4WgXjvK2MGAjxxYqoWCVetu//nz8DRaMEK7PeNn09WNeCLROD374kLiFTXtDF0rJ1pTlZQKwqk90SEAcpjdXHyoRGKCDk5W1wlwL6afnLbkwhxaMnakAmO+RbzlTFttAvJ1YlhPBaxYpDW7IRg3b8kmp8Xd+yXlVLJELz0RJgRrMdTAsmypqIfSjjPIPKHKDOfUeQciXuTv1dF/JQs++EVSqvKmcmgcY9bmOAv5NZNW++ZKtFmX6WvmhW7kyhFPayQ8xlx5kRyX9MmSJDVqN091RKA287uru9wkYH5iDjdWeO3IRTrkhvXTv6nmoJFNVjkPXcdoagkw8+GIjtZlgAfUpNpC9J837eM/c1PTF2rQxhCvRz5/68Oi9ydXKcHnIG2CszNkwpTbidC3+0fYmkbJBWG+u6/olU0dn2iPWPvXxQQrBmNGsKpEOzlruOu+5pQrGKeyPAo1r2AF8v+UxmE7t8J4AU81E989OG3nzhkIN/HWTevhCHxZ6HBzkYLkgm5a1yKtLFmr++4hGYSck0GnX46CfwRkFhtlv9Un9IY9PUOv/KR22DDTqYxNBqvGtEhIHM/pzWLhaMftsf1tMdd1AIhvk67strDu4owYez9BolY6FtTahb+L89vj7P7imCfLLEdKnUeLuZmbhRknwf8MayuMXy4iLFrJI5+k0918fGx/hX0Uu3OGhD/2jxDVqMd/cTlzqGLice2ZsGeFwsFUzy+uPowYujqJjcwgURWCpi8VlNNH6DBPxRA9Ee/w4gVju20aMg9907JqKxyLwa6vpIj92pW64uk7U3URdbCh0NRJoVhD2e8LehtamxrOZ7NzonoQ34eREdmy+FEnAqvaaON2BRgT/H9YMIgj3eoTjI50jS3vPSyKd73NBICdFVinV3trLsHIm8uLW2G6jeb1dsPErsp2Z2D8v9ahisyeocGjGlL3WcRiN+Bx9MVg/dwH93SzI0dTjAI6eeI/JiibDyxz+qV9B7sk5hKTluFtes7OBwPWEWBvydfOi+Ry+26uMR28M+8YOyuiA5hGJ+YPe8tuc27xx0EQplrxXFA7vd4X9XaWE/DwVpxLOPq3Pv2rkCL5GTzNwYcO+SSIkBD6IKZA5dsGXqORJJisR4DhM9zCdJrUMXAFdH0+ovZnAIEbUK9Lo+NaYUbwbj3I5h3VunUpml2aLCbH5aGP3VBuJF6C9ahtjQNNLqI+GattHAWccFfWxcQBujsT9oFFY5O6OYjHxZDg2t1BgiXdY+hk/4xdosJrFL1vjQ5uoQ8wsAXGo2at39uHjgCQqFcIIio/eSrlRLVndk/nSVKOghiQZoxalq8PccQvw9X9f64X3ZoT09Ic4k4KTkUf+spREMVA6mNfnF7OPXt2jg4ZonffbFcwVrq/1fJ1lqptRYTR30G2K7+lBeFoNVDMGbUxqVz7p55FyZQVIyucaCqpjEOYZ153TW+XVuUppbIpwXg0tq27EgxCDqDqxvoc7RnFvX5ZH22sFV8G6WPR8VKBy1ecYMqPEocE7CgNZ+6vmyLv8m7FabGGvrCWLUwjghFrG2WYis5a+AVYj2PcZ5tVqQkjCoVFFnmgDollPwAHw2cYDxm7UxDhdsRKx5RKyFkui9g/UJSOLpJ7hK1DA6tDI2Ow8wscB7+dRT8nyeWx9FdIokSXYjGxLvDrxXiRkRP3O20YlTgl1B1r2wExjIOrCyhSzg6+nW+VdlMLocRMKA36moqDvE/jqyN8FjX4brZzQsFHRtiR0QgB4EgJQWBcBYDJeUUpDAbcPwrDuWkx28LuhY2aZw9fqw6srpa1KMfFLixKeoL86ZMEgd86tPHiOkVGASQBvaWKJUPhz7agfsgHNx3+fRDGBxazYK4R6iYRjr9K7Qj4crR/6cKiBXjxI8oetlCvPwc65bIDeLcUA1gr3zwRN3zXjjHSE5x9xZkInwlLmKQp3YVvrxU3PR8Zt4rrU+ln5maYOdSql48xsvJrH5IH3VPcFYgJY3AUao5+yg7H489IdeiY5ZYqTgAHgzrQZE86lJNG+uCMAeoLp5+Ys9BQTNfxbEL/7ltYiflgPosYZP9LnqlWAeh3Bv6jBVvjVrkniiFdf+8wQXPtehKqM5lT+i//TRykAk52lB6Y2Q/ZKkUQGJiNE0lvU7wNOheriuVI2YJUhVuFM8gjCBo/BsqZ3iCAJGNF7diCa0fIq0gWtUfiRp4bqljZBITEtqjS5+IzNX4C+EsqhDSOd7AIwaPdHwfWHF5RcGrr8Dor1VqAi9JKV0elA31lYGXBcdJGTHOe+lIIjToXzFvykeTIG0WDzimKwuzpBWL7UCX7Pofo790EpmiJ43uyV/a4AhO9XDphTNit4Lh5lOgKS1K0fbX+YvDen9BaS5cM9jYXpZophCk2b/uzdMnlS7cLer1x2WkOtlyT00vQMmY9l4jhNbTgYF82APJQyryEYOrg2u/APkUugetOIf82CJVMMS7zmMzQIR3vT2b3tX5atj/8+fYepzOma9+AYUSi3J0i7/66KC+Sl9iJ7pw25oQPebtzWZdoaTc9B8eAh0wzoU+VFZDhLxRMZHWvYDoVMkg89VUiwhKF/IofgQpihx3FwH8AlOMKjyMFIKIXhGI5mMwAZr1Hjs0bf1MPkEH9kK6uMuSOpGUFqjc0Zcy7XPImZ6Ho3GsuG9LbdLpJ+9Xj+9E1ZndvtdqFFhtocZU9x4o2pAPI6MJj81ObPhfhTIAES3oK4LPynQUY8YIgzxKP/uGdMV5tDctt6uYIIlmyCOEbaelrb3OtqKKf/Paehf3UjHs94sJv1mt+tcTTzF+3pOz34uNhtFBhheExEWnqZZ06s3MAsbWmwySbLkbMx98BYVgsME2c125O9v6VXjqZ7YLZyvQLGD/zEUi5jT+xkfxOsAmoTpVQp3H4zVOn3T0IzzWIa1UQimZH+htD0aK5/cLIM5fBMbakmFR6Wz/HSe8MM4Ct/9vJcYqAI+XjPX0xOu2I8HR0VmVH08P58vSG9YgD0nKHyy1hFQ+k+tpC84K07urEFzQoUshzu4lZTqMIw3TM2kGyFcPr+s64BwlYB131gr0xslSVtJvMJAoIXFQkTpg55i5sBcEIPoWcafk77S+85oh4CHuVPDH0FRCwG7371+aJHxp8T2fAWuhAPADe3Ox6PrdPb14YHpTia71mO5s0tkOOyU63wSrLJewJbTkjCUlmMFqpMc+ArxbGPDppTFZWbol8tBOS0fT1LJidzRzSRGrffjbW6J0dHP6GCsp6wK4xrRvRjOkjDbZa/xZTWFH9HbtrnFJsKL7wp+B4y9G3cyNI53ObHYRWEiZ4PzSB/UpSz6yxB3fKJaitZSc/gXsbN7G1c5x5J+EIfX9qpPdP4V+2AxpFLbYnQ4M5Q6DrRXYzI5/rmObwni8886TRxlRNuIdfuAqJKz3pAWLMzs55kVygH0qyGScCNOb8jbxVW4lZzEBXGWaV+EbJ99lN2CnpSjQZecZmMG5/HPkql1R+tFPQuEXIsIA3v9BsTC82VzX2to/SAW8DxeZEKJIXFi2a3PnaZM+PLx0evUGPuPoUvK9+vX6SFiigaAhljtK/anKFDIZmouBKe4xPvfB7QOrsTfek9quhUiW1Av1kd29yu1TVl0dtKtfAjloSHBLRXj3fW5WRPfzDDbHo5bTP5zO/2zsHI7ai/S+d3vgGWsl/n3fJUi+w15/Aeb4BoGGJpCS2UyOqCB89m3N2yLQpiZoevM/L9db+PP52ZNG1+frNGROyWJzxCfW/DBYi1oOmWkgK4C8+McLDTNy9UQ1CmqYx+GBIDIgTYOG9liZ5K3K5S9JmZdwfEdbNJH6MORE2hXWPC5uOsi2tmkD/EVGx0uwfo5+kPbFEwXpksLWPVrhumdEuCaenCrXcHuJagdmhOgPFhi7XxLps1EXyQBcyTk17wL/aQSWFzUaFED8G6IFrRyYqNH3w/UeorCQD3gTmP06HBndu1c6me44ij2YuZAaGubKdiE1nH+JUaz/r6OC0iCt8ipnckE/+UlDodBvU7+iJzzqJxO04TBE9VJ7hlAkUDlnZnXt0529qhlnbFzyhGDDQB2YIhmeKXLby/5iRAK//EVTKnPEd6GgThz5CHXpcV+zCab4JuDbWV+kUqQ6zlzJqLURGWTiAfKENnQ4X4V6d7OnsAJVGucUOYoeXmH7WloQFzxUZLzY2HWmZ1dUdQLJCngKEAcXtvxgYqM5Quuh8IapnrIb5kYZodnZxxNS+GzRW7hh9bDTfDDDnmjzZO5n4F30SskYoTzK6jpoEprzwIJSANvWnXxMGa6NnOvsZZSQ2DzWhS2XZciO53xCswpJEKx4FBJkZaS1UdZYgTHlmvgDXShspeg6NBbaUJcGNR9ABVgE+lsgy4WHzW+wp4Kg/BWeaIgbqYY3dPcODxwhlc88MROOkYVEgKH/eJ5Uo+wdoj0X+Xk8ZQzbaxHQ9qAhC4qKjGHYMOmCacKA6XImPCy27M+U+hAeG6cm55KnYpsudI8CnBOCbwCh5tmv90XL63kqNTQTcAmA4PR2NFA04YJbvvsECXdk1lqkMs0L+S97IshIdL6uU2k/3GK8Y3/gRCzUjG3/XhRuK9iXdtjy+2/QdEDwJ8NkGDHQiroA9+7xcMRD3az4V76ldiaR+8PwyNdajMxUmgw+1z3Gw4tKQsO9YdCIrx81sb507xu7zZpU8STjdFhMVnKgNuPFH1Q0GkDAIb9tCvph+yAHIHYA4n6WqrglLE3B6xsrAyhLPGAPjhjEZuQdr/A+2aP/NMvGM/Bugm+mIq5ZJM6LMbn7f8zAmrHLqAS9PbB1jbXw0/jSyUcOX7Rg5ls3xL22Q2TtVTjd4iUDmOY+J55qslzony4NMLtRZm2HyOdzxj3HaiNEMS/YY//5b56tJlwmLuYIuk9yLQBQFKq65rXubXFzplRyU7hcgsZJ/fIWfYQVtFOeT71+cUaQoRufPkyAZGlYMZ9j0JBaRa14AyO9mdGGCBr9PURvvWDnF7ol08prr5qaWUo/Tln8Fo7h/vvc9Kgxo8Dwbm5tcWkvnv4tZ8QZCi6DVvTZxtBRocZYbuXq2eq97UbBB2GsOpsD3pOu56/sfOddyn+ZDA1y8ZY7x+Ogsn6lQb2EcCDYtxjB26HdyBk44mbqyUtBWpKKtnVcYG7jqoXL/3CaTrZWegsqwdf62FKUAI6nm9aW4sbbDrNzsAUKFanxN6PM/7myYHWgn1Gwq2WXEaI0ItkwLrNkveITSAlIkFfueVD2CHrMqEql2ii5ur0DmjMmox6dgvPbgm8SrZPQNEiLal4l4/gaeLV5SMyf2EJvdWBw4PoczQieg6O97G4/NGZ6SlZPK63/eEh2nmYaqJOurWkv+BvcHsbpRP8090H6/vPUrzYctaw2DI7zxj+cRPUTd2qbXbB/gYVLTizx11XBcamcun2neGayXL3oZX7043Q5wOgUtnPpn/4PDy3bpHyqD6HAKnG4yAyn2YSJgibFiOJxP4IS/Kqppfsgup5Auju84kzVb7+cvNJ5bid6e0QkyxqZ9LxNmaEOqZLnyXpeoLn7AvZ+75hE1wPny4L3eSbKOx0+l3yQ2xDrXA91ya4lmYVvg77yMs+iIZF4bavQIlaprB0RLDp0sBBfGsmxD/NZmEP/yARVY39RueSZfW8n270aZQtori83V03duDHbFV+7LBsDhWZQhK/yPis2QcfL5u/0Vzbuo+59dDD/F83E4YxOeidgn6a7GlX308hIzuYm6B7g3PkobYITwcIjskEc1gAyInZjooYjh3kLKuAkOuzUylt4LI/Fsvhzuam1+gwlEjMwmz1b06jPl7mc/fgs8gBgMZp+VYi1oNMO5ISTrA3Sf0b3aDT71mZ5WW17BTM26F+idEhEkJSf3suYKB0NyYXKsGsHLDioA36qrywGLXLJQh1gY1prvZOcyLRXBcF2CpGbMJo7eChuF2/TQF6ZnGx6MAnEZWax+tGPY+8AqYWOviQIxk3UaZC3pabo4Gl9Jc0/ICQVPhiY8uAH/MIw8N887fYJTxXMv36WLAPCUSglq+KnOpRZ3n2WRDOiy04/4S2qNWaGu3XfY7MH7/0k0h/K0PAtD3m8puPYk27tq8GxAxOmktQTBpcKODr4pQG8hVk1NDckff1ebCxNh4ZX+kZwmH+oTeTG4tW+gS0BGTy67vv1fqcJaA0y0P1woFJottYARvrHD5RX9QfmUQLvhSh3KzVPyfp/lJDyICNSDHlA0/G5eneHzarkTIo9nX5Nz30U+3clL1jfZ1pNthFlNwqP0OPrwnI5l17h9INBeuV2kRYVkZuXVJpHfRwMnxXIJ/RQnUmfGpivlzl7Bcs1HxXCw93T4C8cYEYWIU3RUtwiatApur8Y/dbWvPNTVFEZ2ok3pgve/5kucXZwUdcHjN9T6qeQnqp4I0bWOFtjBkJYDQ6LjX5Qfg+eUWWHdBTTrgsfJUO6U/1QUjpc+UM87HTEYNcy9Pgtoxzk+GJrLxQNr0U98UO5ImYJ3NFoVkQ8D+uNh06CH8WlcgkALP2r4C1pnIbXH1CYlP0cMrAgHKGZpKua/k+3wF6MAYB2XVPprVC9lbJIQu6O1XGwXEu8Wxfs7o5lCCQhlbaDp4M9+FZ9ZdHP1goQ9VbclnG/U1+OlYQWstm3bBWf2voa2o3zyWnQ3S3qrOm4RXZXeX8Y/qZCh2+H4JVUuqtu+02ioGkA01mPLIJvhS1+gohbAlK02+YslKkc+5CNBZbx4KfKUVIs1JBLmQIx+QaDzMq1pIQS6hJ21s4Y+e7u/wBul8hLXGBAYWdNf3GOYjBsivW9RCrN09bN9tge3RAXBLKuYM9ST9wGnxMmOjaDGJjN17tPVidslWRqrG/JZEPObDs9NM/HTFvPDiXZtcbL9arhlrpTod7zqdFlQTMBeSb8KlSFOQm14sJp//YKPoZcCftOB6MQTLIkwSctNuADPI0DoAq10scZlqhGqS9iMFkMG4lL5F4Qmy6RNhoLUTZfYvgFoWfbNJDgoR1Ju81JAM7HNKtrrT9jC8jqpUuBWlKkeigD6RQwJTsczvwwbDopVZyW0cwdXF5iik0GrWVhVWLuq8011xsLdoKmixA3fp4SjwBVh5o/ILzGX3q7YWPF8C/txIgczgFTVcrBnvtGRfDAcGsrD3KTT7Qhf1MsyEG/z90u8QH5VBgLNOviN3mJYi8L3FVHVC0PDY5r5aWiBpHoe78Ngj//p2EEP2Xm7E2PYEo7DpvmE6NZAvZVtRoBoE+XZvWxfQf5sj2rFY2dilytlOk4tsFWCRZFyYfa7cenKHopIQKFFwmQbKHmomCo3y3JmBou38+HfqUjDUZ7Ld7hi3IsivcUBRdwXgk4Ze/eh2gBZg29796hTSvQBoH8Q8DZbgbjOF+JNU7j43zgmtqq9LVbFpx23d8Jzt4pU8Lmu1ukSKRU43fWm1cCkCdvjsClnY8ni1jJA7FHRObzcL0C8Hgj56qtecMIDtCJ3cMw9bPbxKdmsjLBVsyhi38YgIe3qPq4uu7hKtKjjTK3HMcyH1iwkxU9/uC5y4Qd0eQOl0cykNj6gi3D65mHcrF26HpG7pefmV4PoouSk33TZwAxSy5O4vzUFer/IvoG0O2kGaO/63fOuSK+qGF9iB8tIMD31mbSG8+gNuOvQ3JzT662rZmBJSwe1MRlpLnS5C0jnULpO26172UW8wR0viIX5GdvHYFYQg9/Ap1PC7Ty24zvfoLDtOvcAqXaVwpj3Mylr8JUvDiq31PCqqjzOPuNcYJVATAVmMFhBJwHrZhYZ1blsunqpS/n0GHuPNSSJ9EsEqfoM7ZpHz/8n65UJPSnCD00N8LhZGsNjEy/YBMAx/QGSg0Qxe4vv/XsuWVg2VWqQHGqgexPNPO3ZsDOc/FDj/hlxWjbXjiqB1bgsoymCyeg2ySS6DMXJuAc4SU1uXNyUfH7ctj8nl/9mw7iBVqXVLhWKCX3+IPRBc7qZStByiMVi2in3t57plDCc9UJaWcvXdb4bf6bI028zSM3qjdQuprk7SjrYlVA5XRE0n5ZsXtkOCax2QV1wl4IqbpBNYzcUvl4WcNNGaajA/KC15mA20CtUOIE9mT8D4QyuM9PdhwvUwghlPCNITCL7nK6XB+58vlKMJM7H6TIJa6iLPq+l+IF7yYgRR9Y9TwLHe5iCkEPXQJOGq/W8XE+JZmd+H6qMwYNYuAtFyRXYPkIj4aySC8i2p6Qi3JDt98kDFfR7+8IK4VZYpJD68NNA0npJfAl5zqWLByUX6mJz497hs7Ug8r8TZY9B+A09JywFD+oxdRFfXf99u4lpzvm+BJus2hNT3bZz27Nvmb5be+9HM209SYGgeIIXs3t4HyQyrSU0Cdvk8Ouv8X6gKWNbLpH41DIy2qdAD5HyuwR/3l+kVI1e4T6Ufjyn+d8KKg83OvLSFUazktFt6Y5GfziaVESVv6j6Pz86f17CoRpuOWOHjHEObNRY+AZ7z6SMEPB6LcFWMMxPmCDEg6moHJVuQJ8aLhcBZ7jCx70ivy4I+XC29XdddJvLT8xMg1fyUnQWAs6bVzS3u+cBbb8blyxq4H528RP0UkzcSqayMdD5Gtkxl4XqRpg+eyN+W+5xMLHBDdIpaONX7KGLdaofWc9Db+vRU6OvFh+M2/9k+8fY8ICtF8vtLTUi/EG7V0XjBOZ1mZAon4+h2YfQTou4vnvhLiX5oU84Dj8OjaPkKji67VxlLXUuq80kP348vnh69JmCPcUoMNddZ3Invz9AOyFKmYMx/3KaD51esrYG5TZt0f1MXMdMmql7WmKUU8aU3q5iJfmptz4OII3WEBWIjbs5lv/J/bCfLPWqZoDhrS05RwdrfJOmnqrEYEyBgIUPXVBcq25qbLwqFGWswxrJo62c72HCH/C8nSFuNrdtzWQ64O3Y/5+rxMTC7UBSse9oh3hjxkAePkDVhbvsv35HZv8PjhVAPvr4vodldZRRySq1Zp5SV11gEO2sSknuRlGyNt+KzyvZBUmduuoUSRFu/NUejtT6rlV2Kst+NAwCrq4jlSJW3iZIqxQGwH4dz0DW2MmN+Ak7y+hvGF+PB4JO6VsqfYSPVpexmg7U/k0G9Et8V/S1KKtcw/X3OMmoj9CboC1w4F0seO0E/CFGGufXPxOduWqn/G9EwD91bA+gdTnmP4+1veOOwbuLE6LwGOAgQGebDZH+af2aNsLhklrZhjyQMfjyQ/vy64OkGDrhNPrdofGBoESYLMIT9TvYTyDENPuMbPvmvcWty/THMTAMyrekJ4RNr2fhHuysullF9rj2Ah5oMEhXzuIStTNIii41xyjfZGNjBipvQhkmax70bOyufWeuwrKZUe+S4B02g9pLMhj7IacP1ahyhDYkcQX+CuPM+pyuPLtT2yqCgxzY48zikkJ+YBOOKWsIudLaGln3nXzg+jbPWZ6BEeOCubTEk4b2mAssGu2EGbxve7kAW8JUYtCKCGicwdqXOhujigo0QYFI=" title="Mekko Graphics Chart"/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339681" y="1315344"/>
            <a:ext cx="11512638" cy="4770494"/>
          </a:xfrm>
          <a:prstGeom prst="rect">
            <a:avLst/>
          </a:prstGeom>
          <a:blipFill>
            <a:blip r:embed="rId11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E312042-53BA-1D24-159F-F9BE0ACCAD97}"/>
              </a:ext>
            </a:extLst>
          </p:cNvPr>
          <p:cNvSpPr/>
          <p:nvPr/>
        </p:nvSpPr>
        <p:spPr bwMode="gray">
          <a:xfrm>
            <a:off x="9553435" y="1802452"/>
            <a:ext cx="1050596" cy="4519608"/>
          </a:xfrm>
          <a:prstGeom prst="rect">
            <a:avLst/>
          </a:prstGeom>
          <a:solidFill>
            <a:schemeClr val="tx2">
              <a:alpha val="47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i="1">
                <a:solidFill>
                  <a:schemeClr val="tx1"/>
                </a:solidFill>
              </a:rPr>
              <a:t>Low 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986901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1" name="think-cell data - do not delete" hidden="1">
            <a:extLst>
              <a:ext uri="{FF2B5EF4-FFF2-40B4-BE49-F238E27FC236}">
                <a16:creationId xmlns:a16="http://schemas.microsoft.com/office/drawing/2014/main" id="{070DDBEB-78FA-F19D-88F6-0140B8E4E7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694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84" imgH="486" progId="TCLayout.ActiveDocument.1">
                  <p:embed/>
                </p:oleObj>
              </mc:Choice>
              <mc:Fallback>
                <p:oleObj name="think-cell Slide" r:id="rId10" imgW="484" imgH="486" progId="TCLayout.ActiveDocument.1">
                  <p:embed/>
                  <p:pic>
                    <p:nvPicPr>
                      <p:cNvPr id="10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0DDBEB-78FA-F19D-88F6-0140B8E4E7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btfpNotesBox304406">
            <a:extLst>
              <a:ext uri="{FF2B5EF4-FFF2-40B4-BE49-F238E27FC236}">
                <a16:creationId xmlns:a16="http://schemas.microsoft.com/office/drawing/2014/main" id="{048FBA2F-BEF8-1ABE-C1EB-0790324C28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34974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</a:rPr>
              <a:t>Source: Google Reviews</a:t>
            </a:r>
          </a:p>
        </p:txBody>
      </p:sp>
      <p:grpSp>
        <p:nvGrpSpPr>
          <p:cNvPr id="51" name="btfpColumnIndicatorGroup2">
            <a:extLst>
              <a:ext uri="{FF2B5EF4-FFF2-40B4-BE49-F238E27FC236}">
                <a16:creationId xmlns:a16="http://schemas.microsoft.com/office/drawing/2014/main" id="{5D10B9DD-89B8-7EB9-BB14-08ADA3BFDAB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8" name="btfpColumnGapBlocker266444">
              <a:extLst>
                <a:ext uri="{FF2B5EF4-FFF2-40B4-BE49-F238E27FC236}">
                  <a16:creationId xmlns:a16="http://schemas.microsoft.com/office/drawing/2014/main" id="{6AD17176-AFC9-30B5-3737-6DE35642D052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5" name="btfpColumnGapBlocker792148">
              <a:extLst>
                <a:ext uri="{FF2B5EF4-FFF2-40B4-BE49-F238E27FC236}">
                  <a16:creationId xmlns:a16="http://schemas.microsoft.com/office/drawing/2014/main" id="{7D5017FC-FC0F-C351-05D6-CC97D9C0F28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2" name="btfpColumnIndicator930671">
              <a:extLst>
                <a:ext uri="{FF2B5EF4-FFF2-40B4-BE49-F238E27FC236}">
                  <a16:creationId xmlns:a16="http://schemas.microsoft.com/office/drawing/2014/main" id="{D5F0F9ED-87BC-D70A-FBD5-3B139D737594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btfpColumnIndicator547719">
              <a:extLst>
                <a:ext uri="{FF2B5EF4-FFF2-40B4-BE49-F238E27FC236}">
                  <a16:creationId xmlns:a16="http://schemas.microsoft.com/office/drawing/2014/main" id="{993C401C-34C3-EDC4-3F72-3988C88E6FF5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btfpColumnIndicatorGroup1">
            <a:extLst>
              <a:ext uri="{FF2B5EF4-FFF2-40B4-BE49-F238E27FC236}">
                <a16:creationId xmlns:a16="http://schemas.microsoft.com/office/drawing/2014/main" id="{18C67484-96C9-1077-4D3C-B9F997BB29B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6" name="btfpColumnGapBlocker925350">
              <a:extLst>
                <a:ext uri="{FF2B5EF4-FFF2-40B4-BE49-F238E27FC236}">
                  <a16:creationId xmlns:a16="http://schemas.microsoft.com/office/drawing/2014/main" id="{CE80C57F-925B-3561-22EE-42E1526AAE99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3" name="btfpColumnGapBlocker193628">
              <a:extLst>
                <a:ext uri="{FF2B5EF4-FFF2-40B4-BE49-F238E27FC236}">
                  <a16:creationId xmlns:a16="http://schemas.microsoft.com/office/drawing/2014/main" id="{5409C5B0-E5FD-4BEE-9A0C-789E2176A46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0" name="btfpColumnIndicator245238">
              <a:extLst>
                <a:ext uri="{FF2B5EF4-FFF2-40B4-BE49-F238E27FC236}">
                  <a16:creationId xmlns:a16="http://schemas.microsoft.com/office/drawing/2014/main" id="{9EC609DA-AB07-6967-5830-8266F1029D48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btfpColumnIndicator654716">
              <a:extLst>
                <a:ext uri="{FF2B5EF4-FFF2-40B4-BE49-F238E27FC236}">
                  <a16:creationId xmlns:a16="http://schemas.microsoft.com/office/drawing/2014/main" id="{A5067945-1060-6EBD-9954-7AC761716E71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A1F8CFD-0A66-4405-8B57-6E234082F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Ratings overtime</a:t>
            </a:r>
            <a:r>
              <a:rPr lang="en-US" b="1" dirty="0"/>
              <a:t>: </a:t>
            </a:r>
            <a:r>
              <a:rPr lang="en-US" dirty="0"/>
              <a:t>After peaking in 2023, dip seen in Target’s sentiment over the last year</a:t>
            </a:r>
            <a:endParaRPr lang="en-GB" dirty="0"/>
          </a:p>
        </p:txBody>
      </p:sp>
      <p:sp>
        <p:nvSpPr>
          <p:cNvPr id="11" name="btfpMGChart36443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dJY2OMwf8mgoXWrd8S3Dpr8K8e5QDX9l/GOurOelpINCJLA3EC4Lci7vMC6fiShJ1UHdlzzodfzXVhfa9I7ytv6BRy/EX/QD0MuC/l++gvMHIkBB6AlB7BB8SsdaqHqhNYaeJzvHV7QEbyegVP7yvTblHj9Jw5nzodxJ8b5KHYuKYcF4OBsOp8BLTvqcxJG5pw/PPok1rr2bEJoOdp1Qba9BiIgA/ZfIKKrDyJaeamlTpIaEK5amk34kXFmOo/L6xoSTXQBGtF8D32B78V3Kcr19gMx9LLXBLYHmSZTNkQg3jgawazH/wwWaTeQ46F7gBV0SCHjQxJdr8w8MvbRfRO8pY71Cz9zXh0hMni2iTQY31KPX/FKds9EhW3psBaQ5elNzPK3GKlDhpy5P50wdC35JR+IWjzZ1PuclBgkzRW5dT3KOkEQ7NCczj620eqKg/47kJNHDdI9Xb6vhsr3OGkCkgh+/EVGspd18ESJLloDfxOeIxfluIlhXodh7ihHgM8BsyYg061wkOtE6G0S26/JtzL1isxRaOfJ7NLe2nB1lQb1yiMUCg8pV5Zqs4lNrVfc5KxAV031ZVX6a6OpWlnnd7JKStm/SGIfeDpE+i8PSIroG6uQ2OTDs2pjvBw1zeFuOBB5hHmDEnIJJD+C+6zwJWUo01/3XmrW53A5ZIoDxkUMHDdNFE8JxEPDs5oju1rL0TAV9YyQQq9TPNoKW28VmlM7tc2lwrW0iOm7ZPeJwXd1Vop4rrdrdxNlg6dmxQWVosWkD5+iPPABLAOupuc4bvLU3xf2e9c3DqWAnN54wxYmu6RrWB/yLD/96g+OmESQoLj4PENC/UUt9zzns1/hUasy5URfxan3/c6dVibOwVQ7Sc+sayAS3hVM6vSOoZHYUDSkGCjnCOVvQNRlyBg1I5kORG9M/MbZsj4CxGrcWNs1LYHMQmMDUshr4SlEK75AW1tWQQdXSya9IDUHFHm4F54UIr7n3qWRK1HyBd/WyIkft7mn+VqgjGnaQObf7oT3E7pjNUyeylydHiWAYiy78vtk5w6hYCGcZFBxrE4wtIkEJpdG/NrduJaBsuqKcH8t0NORLYFMZKzyimzkflcTZN+tTuf1ZPvYvOjKbjfSHfKnmm9llDBF491fqyWrcpSyM/0CSLBtoeyONHn+v7xBnQfayHg6SfgLbaaRTawoEdMCVCdrDBJSTxKy3nejwqo9mpRH/dfEVMbsz1/6o92GEyd8nzK0UnuqYTf3h3Sn8KEz9SFLdUmpS19d6HhKkI6VUVM4Ww1p46yjufwCmK+K9DIqx7Y7YGGDk+PHOAi/Ds4hJt1BucnlvoB7DcX2V6ofdObAf/O963mupxMENG7yr/u88HFaQKrCaAPXqdaIott+IWXqDNvY5FQLlbLtsnyxsFQPCvbbOUOCI0ou6MO5PlZU0TXIgE+R7JmerGrxtTbx67XzCfZuNqiLKFLByh1YbVlqE+v4V2zbMBxbBJ9Ukkn4okDZ+ZjXz5gH3BOs009jFYUhTcYW3G3OgiC2MoXfQGowBNpi+JeeM7+u0cZcTaUf+9D1TAZw6ak1Y9QH+izoi8ze58Kts8ZRjrvWjgIk4BYoDRd1K0aHbOKNZnbCihoXP0bR8flN0eovH3G0rC3U9OZ6K0qyhWE4BJT9MifXp6yGHwIz7RbydxzCJCuWiFrZjEMZSOSYYri6glkC17LCRa5fCIpxg60g+pgYrq93itKE0WdBoaCIt9tdLGhd04o1JkmFe4zKBe2KOsrkVbSF0in76NFOsaj8dS65TdAtaCy6eAbp00aBY/B/TeUjXv+3sZ05ueX+UkWCSMzcPlvlip056DdSW/EsR8LwwO3O52Kz1/tOrR1Ji7PkwwSrxOa0J9kWAkYlmXHpzoW2iujZoBO1UGaCr33JwYL00mrKgJ7Oba7q4pO0UUxpUr0n0ewsMz22iW74y8CpNaXNCuecW1oXD32g+Ahii5KfBfgy6AJZB8cqUsRzuAQZt/ZSqHHSrE5qYSKt2q2tXTD7AsqYPR1kNmT9Xe6UtEdGRyWBe6y+rp1UudTP3bh9jt0nuCpyD3DzMD+XE6Q+0P0IGk8EeiI1+6td2OYiVghpShwQUWmgrAWXcbYiyqI1W/bfiTVb/5ErtKGre0rGkGzgKSI05WGTq6VLvmca8OZ75WtGIcklEkmeS9D53LEmXvewP7ODox/ZpMsxhA3JpaAqIunIA+DqiQ+LE0Hdb+PotlQV7O62AIcBqRRhNf+mPHDViSioAjzfZ6oFk1Co9ufXGgp6rDAj1LXAnbp9qJllEgA9BkNf9wHgVP3OFlZ66DUAB3ZEUa5DmLl9mHzlZpZeXRmupZIs4NMIatMBjWRfqUYCIe1QEhowWMbIojawB5YQ7IDQmo0zGWSMbqvfXvjyjnxQt+M/tGvz+J/BfAXyN7mH+EAMiyvuSZ2BRyr+vIIu2qxMFMGvy296l079dwOlI6HzKorsYkLl4zZfnn1FlQ7NlTJTutmQcbiAjEpFivnx8Un57SDiP2n3NS2PO1weymYZfDiSQ1eQWWf1NruywcCcR4BMl0lSsQqvXdb7aaPzrG1NWT6y5XnaGIfKSPnx3vvIwyVWW2RTr9Oz4y5Zzo3tdlAK9ytXgG7pOl0tZ51LcFlP2vcYNu6UN8q7kmUvbWIAGU3mhD9oCnCGUfBM7YbVUyehiCOgPwWaDgHZqEhPYKAe/6Mz5j1jVBGUyBnglxEJdrTBAcSpkSEEF94cf5CoRA1TS6AVWTaJQ80Zt++YNpTikulP10U4bUWiE1MJvuJB9CmEZ676pdq10zMOSc4kZCwgVY8aWOjFcSr/kK37+SZt0MYVCfTYqJ8vu7oB5DuodZbW5w6+A7HEMdMLUJKngLIZ2rO8Aj6K5Vx6k/ec5gMjuXtRUBnloZQweUD8ruq/pGtk5iL/DYw0fPcvPbUFUXoHYx+o1QoOQ3QPNFQyBX5bfr1doVkb1QUQtdiItytGuJ9P5B/ldxc74YgUny+AHC62CxPs86gQRuILQhoJE+JPFSDOW/C08jrEWb7AXLGfKpHDCtXg529qItx3B/XSn97EfH7ZyQvMBlUiPqfJV9JUuZEMTRTiCDB+Fcu2JwpPDngIhEgyQqZ4kiNR/fR3QwfoMfLQBGs9DqbY7SqIwf2lH4Bl0G3CRKKg0dElh4Of8upcozeTADkx2Zbuq6S3ZrLkfgTCI5VUOtdlf9nk60SgAxjYXtgjEfsIQb+k27AwRz6P+bvHOhXhomqwsCxn2z7fb3iLlpA2gFGowjRgmrXfDwLg4kzi/mpmlLUDmXcqxzKM3MBsAHXb6tRMhw8mLeJUbyr2ywjurkriJlWXJ5N76Jl/VFEvxzR5WiFKaNBgxbr1g5oc9vV3l6/bPEBLbeCr/47SEaol9zfjHKU84DuiyQBnObVfllZh2YAfHSfqgDU+SUpKildbOdd3Hb8EY1BrGEPAlv7GptDam1KtrQzUKzTbdvyBfqcdkXREUuXGzg/EDosy9CJbhjJ0/HGkOCWSGjM/iGaGDh8qJCsEYVgmT9fI5beECQpLBpetE8fNt4wJqQUde89jhU40kCmgcVQjTr1DkqBwzJvPc9/tSOgSRiJJEfQbY4Qe/k+i3gAZZE2WZlCeMUfZvU9IfLxB0oDgHzYdoP7l/dD5Px398OLJ8vo7QKs/Jm1HV2NrN4VVd001K2ipx3AEJ4OhDO5he3MBwuv9Ni0a2K2hdfcqvLgYxngTWc6ACNypImEWXO65SfzgOjlyP7eIbZYdU4sZdetDYSujP03f0KETnXa7wpcn+gf3a2IwxycmRkHdknK1R+6XK/YGN2z+MrD6jf8Wv/KL1Mdq3OTM8ic5unD/lleiTRJRxGRhCK9ZQ5sGRGMh8uBDTv6WB8rxB5xEcrAGJPSyjPNr9XlF/Hxanw0MKCuAGF03XXSZ0wwcOtEPH6dAOk9nrnF9DHKcwtLTiAaH1neu4TKRm6wScVzjMyhw8/Pzu/tPpoqWXWmAZUTIOcUAv28ggKpe4S5kFkie4VmXkw3UUZT+0Wi9AQPWosZaemTgoNwAb0Qcp2QRICTcCqOII+3/CCIy9tcVp1ePKZj0oUjd2+zxgf22R1JMphiDNvk2CH/SLI0Za4RVoEvm4u+Xo2BLflWIeyTgO+uWf935OGTaEi3O0++d5GVB0dVn0WIuQh+xEXg1Mrlj/98Ip+ENBndo+7WBl67op5u4OeX2cumDpQIg84rkNF5QHLnSP2ULKt9hKihvNOxZhAvKIqxyzU7lTmMMq3g+pfDfpHtVGl+ECopGw07Ow5BQZ4XkVxqtQX1ezOs/S8VzHsz6xYz/ssTICzt3rVYAzdhJMjMBqXGkV1VRK2/oC+mbfMttNvXJy2ZLvLGo6MCtFmkBs+fiXgSRhJ6ngG2iVZNj/CQ2u8dRTtKVizIHr8uCH1HrJZGDLdJny1/8WsdGoSDyN2sY5jHy/5LJo6dfLNVfxdlkpSZn+ykLFtwxqNV8mxifik+pnMjzA85iJmE39UGLv9T0QlH2E79dAO0RyRoALFE9c/98E4NQEeTpa/42QXvP3MI15YZK4AaF2liuCgtbrNUkET1+BM/tyCCofWptt+UW01yYbbGrHK4tK+uc6OlIKPUV+sqEHBVIJJiqgIPK8wz+wI4mbHhgdWebX57sVomD9YPeq5Eosjbk+h7ZcVGjX0SFuM+HoWrTrAtol7O0TzwIKu1yKeksrq9X2Ou09gzK3B1OKKPNXIkdb7+Gc7qmwNRu2hq5f7ukgFk4XDUBzNzzwh41EDsZwyGowmNJaR9QtCrdj5+kU/fqG3hexD/k0NHgPnlHQDRZP42yUc/Ux1kIIiFXM9RwZYEbJlge9cHkYPsnovLHvEVgYto0oDsjQLS67/8jVI0gb9UfaFSkdgo7ouN85SkbWkTmqPlEqxPD+m1Ff2J2c7qb0ovB6huIBO21qsCiy8uAA1Y+VWmiD+KFP6u/BcPS79kKJput+Acw1FKIIQEk8Bxc7CTkqhXUXB93PjQqIYTTnRcoJhK4uxWkE7RI33ACLxtVYDPJavJnvvQHgMOQXrFdudchiDuE5PHyH5Tmfp1dJVsgCTXsZzGkOAzHYJ6g9gSj1xyr6Ce8+EDkDU/to+2CC0tYqZ9K5vI0MwgxSA/V8IFNccCTljkWM+4aJyaoczCF69o60Gc/HMWlwne7HuhiTXAVnG+Ud5xG5a4SC87UsBBtKuBUqxtdIoX+7IMFzZFEWYBZDNs6zcc+8jNGcdiL54h51yJ+Iqkaiy2eBYC44mb+c4K7JRsyhO/dB/gT4gRmRemnjWD2crMekC1SzNMDCqlLMUN47iv/nyaXO91WMOfDCMPPRxCLW3PDamPmQhJ1z30yRzDnp6wMoclV1N/tP9ubAGQ2Zcfjho+Oz0FTuPfeERNj/I2qx/6N2BsRqjdd6ZPLzy47K9Y5Dbx/JQnPoXUHKYnwqtxDEeOC6CI8SxSZQSccOwXl3lzGFZwTqIfSVcVBU2naXNS4Zf+D7lWQcJgmpl5Yp36l6L8frscfp4o7QbIHsMhtqDgEU+xYOe3fqiS2UNoDVjGhexTyOU7zG+Cg/HUdD8pKec7O+8Ma2J0iY9p93B4t1KXs5/jK8QGZtOKP/mUTJ284T1B4iPLkFOFunA/y8y320u1s0r2Tz1FeQiEAKpiTg06HYVoMVgzAmE5YTF/vuaulx3c2OXeurPqodhZkzA3P++/AtkQvobYXd8SH4Pfqp3hIdzaJ7pOR6ZwhNwX4P9OPZ8gT2VYoK1aBbKMHcL4OPShQRiaUTQeIYmvchSZ5EAiDVnDbW/cn63VfEzEWhLZ1bByTl4WSLAkhstpfcTj3S1OYtTKNXU0zFjr42mF4dWtnag4Rom4U8HOdiHgbdBpKeZQJGoHrN4NsSW2axYCRJP9XkZy/pua6i0qSw5ee0qZc5o3eGwb1ARXT7BAlWTi6/JREBHEAVrF1XPGSvsLZ6PrTalSwluPfEXBGV7Txgd2R48KEBHZRyKvXi0u2FTRcJjKiBV2m8iw0xnfhT95gqDfbcDBEhZst5iOzJANgxO4vTkN61vwcsREsm5+BH7UEyGAerUpuB+v7Wc2nqNElwVZivsUCV9utWuCkggQPQ95ThFtAqa3fOdGnj6gadWXIlHfqvvDF54S3E6fN5KmkdKUbcBa6/PafZIceF+cQ4anjWKXmDhhau853a5cupXj8GpsuWHzwJ3ZzH3HKbx1nWVacGjHdSxolEfrQQbbCKEwij/bndj7yOjVQm8dKT7cGVhKJqQwvH+ABSMVp41cs9Vg4s1vNfSJSkhdFcfgEKYKulVnVu+yA9bCy5ML98Iel6fsdvqoIEcP28lWrEEWvB3cHckEYz6mEVChmUAMnC9h3OKgyjMV7GL7lfQG6udIcrwRPVuc31W5Q4A9JortoA4s17t4zbzhc+RFH1SUeLAGrMiiTvUA7gs9cbLXVfGH6LjK1uDS7U8cwaO5x+ZT/G+FbHowwRSdpqrVjTaJlQ19FYrz4OeTlFyk6tipC51/Vt0Fno2iOCo26kIFgawWDcQclJa4FpGUPSkcAWX+1Vwnqjg2j51S67pEHuWNRWDJPMxf9blcDo38tnea4qAlm6FuiA4gPeE+zABpCtAE4m9uSuYZaL2UGTFMUczPNziLZGvfKtK3BV7UHrBYGzPdQFeHUQM6KFEH7M1t/GHMjBr2MhnGyRPzE7onoJzyNmTfGZce1iTBx0WifybquSXw0dSPZ4GPEn1hz4R+wzJK+y9UdDMpa98MXf8c3sy1ljsHHtT8eKEs8TM4AzB+qnxMytHno4Xep4DzyveWVAVBwxtGip6UR0av2+yhj27GpfyeRxoaZjDe3zWzQF+iE5z7pUZpGNEJvCDOfCCWzYBWdg2aigCDG6QdBA+PlqCnJNZMBRekvY0TudqX/FUjRmP4HB9Xc6bmfKG9SMSEVOekilbGfPWfUOJ34hiHANObzMM4Y1fD/9P5+yRF7KR7vwJTIwx46/eEDnLmQorg+XcoVSEP2aqeFXnSNnGA1GY/dqsj+svW6JfFhUcbSIigZUdY6mmBHnJaUaZGEMQZ+3mDcA/5knZfqUskIYem5DeQhicNsoo7lHbcPK3yfCgfRH8zcLcHPlr+p8HSm7fo6iehfmiAqqvpOIzEDXJeEvZLNR+KWWoukqOVMnUql31+hfgCJ7MPLboc2DesfZmIl3RVO+jOSoITFAHnmOjWigJaMD2aqC4nA8tat4ElDQeY9NwljZmVDaPirdYqONVDJ/BsxD3eIJuis7t9m/Q3ko3uk2jLt7hzLJBQPbckkbCVd63AvioBmqGObJVUgzHiUwL4r5T4EKBxgeZtPEj/OM28D8OfcoaJ1W3jVZUs+BU0AmCllWjJCF/sHjeypgNsOXiKqbcFz+mWJ+52/E2gIzUix335kvhu7Fp5pnD611aodKRRHPxg1oIBEeEAem0e6cymmOllpQQL8ox6lREc2uK8YPXY4qFojLKMO5XisV6I3RRzTF4oP7wcv31b9wji4eXxcQCdQMa2vB/7O7+fdjBcFWafLD0POgRcbASRCf2niMW3Hf5H2vcUz4vXa4WPw9lp57IlES+O6jhkZSwXiFb/Jv7sgbKrbgZxH1pAq0N6f23SJRjFpJlrZ7x4nor70FX/vPIR2jBIft/hpKBLWkRBlICeSR7u25V2qnucdqXr8PrTiFps/+iSrBasv3nWNVkF+as+kQ0oX0b4LvvOtQ9b8cEGeRxCQd4GWP/2+SdTusQPGKthQOOed8es+l1ELjdpTG8XIn1GlhW+7DzOja9XfpbaHeSaRl1Ope/EB1haRV+8shEV5U4IdHs5VMnSAjCpbRzFu99IGHGe0f8RIyV1LuRsMcjIz0RIQSO0Wc1Kht6+pdjujoFmBMc9bu8GhRvyWpzO3sMNIFm68yaq1FIT5lFLV+mUzrxbjXjEAg7i2TFCvDIougX7iH3KKpinSXJbyWToYpCjLk1jyS1KtgLug1/CK0ymNPPF5CZdVJ+F2wLasDzhxG/Ye16ENXtQEG5YhXSKPfjcXNE1H0cv4QVIalg9eWZgtVIhl+29OpuUi3a84ROgheyv7eYzkvBKe1G0piTcINR43xSsBCYZbh3KrLRXSLhCXbXeIZp9y6G9A6kSX4srj0g3/XKgSE3aIInfxDkCHe6BCepzNuhgwQoMSroplUetfv6EHyGWND6Zdc1McGi+Wr7wtcMW4LnilIe4QRuny4Nzg2LdEyCvVjrajAdcwFGXfZ3CsHgWlv5edaxmKq3W90oxRklYWMaTay72PJI95Earnz5IIVRAUMN8rlOr1ct6L+U1CRkmLJiDemV/l1J2IbNFt5Y7j8TtJt/Qp6s1R2tucBG1UeHJlFpC9GrmIY9YvYtU1WImffJDIpFaa+prnOyigrOJC/9fiCsQsLvmE+cp368JyqsuaStU8InMV0vfISGfGGWp3I+UTr5nBpwXR3Ntjy86D8le/Z3K77FHItYY5JwkpCV2FTA6L0Y4ggziZj1OJ5tqD+xjaEREn2JHvILqddNHCK34beUw0dxzQajnnz5jgN/VV95deL/S48W9ERFfCZ/upzIpc3RH3/h14pr/Cyviehfl31oYQP0BqU1MHeVjsj1KFfhqLsskYVBFVJtLIjzx0UgjV0dic830O8v7OyPntknV6hcnMjEhz8kEVhvXhi/UyZ1iOnK/FdMjhSmCB+aQPLKk/A7tz+jCwjHnwZCLInLTsIvpZhzldmHPLS/KUt86QtMY7dnRVjKedvfmbnyGeerd9Mtp0KvRyzOKstoLPZNqgqThPjvT6VZCPtpNvol5lnCYFfHSg/CrB6u3qaq+5wvMWqox4HUE0tdDU8G+8RpIc65uhELKDdq4B+jquD8p7wDtcAB6YvS4ZKDzb4FVbQEQXp0LSdoHEs9p75jUl56Lqphm/cn0blpIs6VwNoftR3+63T5bfp7G7b1fyf9Pg8T1nL7CBsPP2y8KnRa79InaLB7gzRghuf6cezOBc2B08V7o+nbwGiDNo1BTaSCnrnk1/5npuisV1B2re792joXiyf177dUPP/+blCn8zEvOlX8DqVG4kNnIe3o2aFzttdjB4QsSqhYrWI8jifW/PWNbzZmu7I/Rrx5FFtj/fX/Uh7rPC+n2VIB0DPS1lN01Dn31+BpfgTROwF02uz2ZzK0UI7y+LpLfnOewousoJOD/qpR5Tb5MQt0i7xzKkC2YynaoXdH90TSX+ikN5YNc9TeBIPO3uf8hO6rJt6+f4dOo8eg8T1fqzCdjC/kCjgoiya03pQTVCt0mXVey3y3aFYfVpKZOynkOmsWX32nxAuSrgev5kcb6S0m/kWOvsbbjjYlcb3QzNAiIOnQEjlS6kYA/f+cjKQ650iUfSjAeDHyLH7mZ/fQQxaT1lo3zzOKhVTLeZAviJ1TVvVpHNIZ3jLz5gKtR8YtY3FSnhWqLYsntprh+vOqkX1xR+fmTuRhcQ4zhAJY++pWlEVVvquabFvgdI9/ApkaqH5yMVMt1gAmDtiVoZR1APdF5RxhPFg5IYFuFyVAC6nLl/larpMe43y+ZPKACZ1zOTZSwpt1t2O8hc9BYUJDo3TgQDJFj1N+nn7jTSWxpnhgcK3o0KeEPpMMazlIRENVC6zlbFPoF1ZNEkqxOgYqIDvbg0Fla+ptUoY7I/jP6EGGJRrZYG4IKbskugvEjNbm2EEwjqENJHzezVfUIvMJoBLNgT8EfgDvoUqWx73r2KyWx9zuodHSZK2HIQoBbCP4cAjDcVfFL8RlrcJ89rBnnvF7KXAmv9OsJ0JuWWRY9WlJEQaZlGf6JbuwT8R030oXcGXfr5uzm+kxW6xQeA4SwhnIiikiyjXz3I0053M4xS0ufSu9aSpW/2JHm/WLr05S6xUljdGIgBJ8CLIy3PPY89NFXwBQBotHGWvKgocahf6cemvvc5dtU5/9WxDZWgeUMeeLSRU2HrEcx0WFElu0npSCtKVMhD2W0dEdIr4AIGGDxyDONrMDQTapDxQm+IVhHXMU182Wvh2dEdjYkp6v8VivA4V7KRu0jWOHU0FTB/EcANWJ7VyizdJDqOgY39l/mlTlvaxoCxdcKu4jAa5hg6+U69cvOvnYwvJxWafHuY32EWa65vtH1XExw1PBOUuSzIsNtPevsZ2AW86VALh4JvPB8t2WNpi+aMyKMZ1jhE0uAEQXY3xZg3MLj0siJu8V+ApMiQXP4yfXtG9xSqZbuZIrb1gvMQDovXldyCR4ILYJFh4kId+sDt+9Xuqqsfb8ISrnK4292+4EgXj2q0UbBwqnnhh6MnmXRP7N7fDVa2vP+5aNdAOIBc1jWq5+PNv/xaRS4zcYBwIydSfK7ajOt8KhptNOqignFyhTVl7RTMz4DSW7zQQJWI/pIwISvx83RrdIYCTiQOjdKjv4gQhawZk+74kgSbTxCn97aKm4os6muw7rjC84DS9Q9WyXi89I1K2h0nccK2Ys7otv6/DmVmeP3AZvAdn1bR2t34kw1bl+v/65MlSyt9BsR7wMe5Pp/LnBFc4Ppzltu92aFkiclEQUrpVe8xFqYr0UjnnRUUgq3baIxkYufiX1Dx1qN3Yh357OljAW3kIQSZQfJVYflmgrHKid/CRLraLh/eBohBVAlOYu4/bz3uQWCB+WXG2wt9YZS84QQFIEABDCmG0McCqweekRK2UD+plEpSBjdHyUe0X75qyG2eDa3o+8nIxZ5O1oIfycVPyXRjPA7/uUtX7zsNlkGgCkrulofIjdzaljQtG+ZuDGgE0FBAqwIwfPaJ0zZWJ3XvRpaO2UQHZ0ai6nGJEW9IVcHYHQlO1ept/Lo7+EgXreBtqtg6mMXDmsVRWf1/NVU+zulTUBtmNkB1Ti0Jz4ShM71/ehJxo70ld7o89Nfe52s3ip3f4jN2KXfndY2MctYKXKBiVrvxkGcH2wXogXJAt26sLwsJ1pLXZ8Ryk4xDt3/yVwJEcO5DRkbxb98Fn05LYtBid8Vuopr3vT9aorn/v5ljsVC/0zSGGjwTAasSEQHd7omh3a8QrSWQbgqPaRUCeswVo0DFIYHZDv5W4xLa+HywE6ImDXG8lrEiQGLxvgCaO4BEsgh+2sWIvSffQH6PxwL+FR48YZoaQGMC+Q9a87HaYLnPNVmOKup/d8To0+i5te/SDEm1ck44+MnH7yoGStzMszlxUmNXwrAsFfjUN4i4yBnYXGEToLIcoWpgj9gHGV0cqfAI/YK+OPDM3IlRk0wQ0yQLrTGwnZ/9Y6pSgYb2Zt+2oHb79Obd7Rg/XNXwF7/J1flSeRnwCIWo5PqhdlH6l2drHjAQBe5FtyugyF5/5bmlLTxVdHOT0dQuCpZjeMQRqwd2/rwCPwyARp5lwgsJqz8sUIDHXwa2VixloLRqdZ4OhY6CytSajscT26BVt+sHZrOC38/1iYhat1QmXtpLkI/VNrXrCBrtRxHUP72cQ29KhDwdsE87xEpsYdofeV+nY+G0sR13VXOPi0FidKJ91mewIGzgm9febHyhm5td6Skj93Q2NddkZ3vLLkFyTeCcCb/oxcH3mmS4EcQxQ07ZGzkgDsYomMbv4d7Y1vqwoIWwEvkfGLN4Jsqvc9oqYJ/chUraTaJHUrI1D+Bv5Zw/g2Bo/l2U+NVXlSANdK5foh3qczpVSZ6MP3a+m1EmMtJMlPwSfE3an1eZF+pMNaAyhjolNv/SCmwo3vdTb5LjbBfoXzfMc7gLwHoLnDowLnjPykLsQhTMybbGAhyMF9DM118J6PbvhJetKe2byLsXM3kEqaYFUFzd8Adll8oJQZR5Y8/YlHZ3DyVISpzusjIwymAJOMreJQx12i6XBeZZMsIkth4STsjkVmujyBMozPbxlKpq4AovbN3Vlo0jvYtk+RnAAS8Es9buCuwqy4EPk7D66lUG6twJz66IZGrLwRCj1zfDhdTePzEEhquQ3sZxf8hWPOiZ30IsHZAacdw+YKHalj8KuskwqaA9dNEZfCJTzSSs5HeG1KDOS8dHQuivhidnK7is0fi1Snp8FiW2MMzzrq626748XwAAtsfLsk0HL60hHDo2RAOxR0kzOvuqc4wMDzlMgu6UUqs75a3r8OI4nTrzP2OF4/IgSg9fzlGZ6X284udBwslonQQ/TAmKQiOXaLiMYMzdy/ybD5GL/Nhj6jEEZqmjwSXbdzj8cMIfjBOdT9NFhiaLRitoaMqlEnJ6FpiazHFIabye2g+cBannJQjDLgVq6eIGQ1ihPpXd2eg8FN7BrqsqYXpEm9X8zHSyCir0b4Kvme1M6C9B79tBulONvA5Dl4iVktmb066N2zeYFx4048eNTmh29FX6oOoj1GB6o7EAuAQQ1QHDPIU9CRBKQYvul6WZbNSsQCRYQXVmBBNGvfBtYFRDeX6eld2Of6gMTL9MDXPr6Jzll8CUjgIV4+thRzgs8lpMB26KHT21xzty/C8UpXTZyDycm0xIvhY8ULIJNJICDkm5TA5PaaSC4kcQrFOKeM2ESWGz/3DJU+Vjm3ERooOIdwyz1zVaWIu2fQiXEptS4c0FMx260Tzlloq+3WBWoZtCoUs+0x9WS/jQTd0elhNcxF4KxGZptTiqyJ8XVYbXsbPWyHk0SQkLEyPE3dAbX9I85RWr6NSqW7Za1ntphSym48KKT5Tars+jr0kjDc2sYogtOxuV0dXeWZ9Cland6anIFdsYrHecqdQJQExAqAQiiZIZ6UvIcZ7GCL9KLR7vCtLbWy/jcgyFRs07/Jzf53NqPm0qIx7Z/dPB+MUfuawaXCsvwQDPbNlvKzC4i2FHc3GbQ3HtG1CCAEBQkgM5wGjQW1U7p/m0NV/5PNu6liYuMIQ+o17fHVK6Db+WlDo2/LzkPowf70IOcKVDY9S0FpkrUaPypnkuqdB/7Wn6xvrH1NGt7yI7P1ex8iwsdMzI2u4l3+ofAH54iLUm7YUbxq1BNDCi/hH8LYfiS4uTdqCxNS+PJw8LdHlK+xr+ctS5Ft3+x7oLQAfUiEcxWeE1SULKiQR67DXJ8XR39h9dyDxImhuXRmv7f40rxqGLhSTuEbf1ygM1+OTFlYOmKW4VLKOwhB4hSnz7JwsOnzfDvBIPX0C8a7eMdWWUO6itVWHs+Vt7e4WS0DjMJ9CSOSpEq++ecxgEjHctUWNY2TpsuHpPfpnlUzjkBXCpBwqzh3jJih9dyXY7MlKImPtymXRMDgvzcG47vXjOvIMlXCjPF5SMkl9q/pY6QjS7E+zut3afoz4jYd6NQzvQ/eSdy+NvXqsY/gND+OirZsL7k3OFQjU+FX9aQ+HLW5n/0cWWpeBAdjfPl0Ltsw5oZDzQDiJlkfCmp101M1efsFXIBHqOvdk54hGS0XlxUR28ok10VvrVWGlg7L2fm0oEP3J/fDsohZBNvVNfAmuoboSMb9sNcbCn9akJiHnI+B2+Wd9BvdVYIwATV5TjSBLxSYYOrKSP41NqI5G/yga4foZxDf5SXlzWAiqBSKw1s6euWYldc0EC2qgI60G0Wq4IJQYHrZ0L9ZiI5oqR2VyWUPRImVGDqP86IKF8iGakmIxQOwTbmciPFeBP2IW9nB/sA+ZaVOcq56qt5u0chcOCHvOPVWX7daJFJIVG8611fFg2l7cG1YtWOfYFE+qLTZRGZHVutSnxqLYxTxZoKJcXlYf7zv/x+h9N1MBvw7Fk8yquYK8i2rcaZeRsMuK/syWU6CdTkcWmoVMLtWp3rA5AwSiEpmhoCRiQscZFGJrjXTzMoGtPlDU3E67v1qJLa5iMvH2ZUFT4rrRVV2eIeGz1POiw3j1PzgpZ8nF4i15M1m0Hog6GLLb9d+7hOyapVMsbAIRZZu9EwU6L5oBLdIWVqtNRH2v7dmeZ7LVssvGgTPYVYyihH2rFBHbQ3wbZpZcdeAnCHgt7fJVImvmOq4hhVT4JHFIhyT+MRpw0M3SAGmKsdbSAx6s+N0+WZR5Bx8Jl1iAThj4X82p28HekkN829jLo9SP9wGqwI0hu/DOIF8op7jRtGYL4x4TwCoiKOuJ4vuBbn9ZLFTvq9MScf21VhEjcpTBqIKycWyLcZzISlT6lJwU+/u+aqHOHX1CcxdJvWrsfl9SsZl6yzOug+O3ZubeTsyA9gp1X1DpABIUYeCGkbvkbZ4Ers3s1d8tdhOetzlTFvOWpZkHyFuyI0OWQm3UrTyknLDIh37n0DJFPwjBvjtnUGx46UhZliUHxs03eqsq5dJQNm4giJxwwprNiFrx+djfW+3CfPrRIveTFrs8R+8kSclvovC88SjSi3v+uBqgVfJnsVou2QYAXXqE6kLSB074URqZeemiROGcmSf9MdLcOU8GaERXmPkv+yhNXkgyWR3LrfPIGMmnEadTeh3dhnLVnfuLDHj1vY5OBiFkLeMCSjw6ikKuMH/BAwBchWEJoemW6zXLXYmNf47kAz/qI+HUiuhGf87DTDqsIBAxwf2G1lChHJqkXhqhchQ+BGqy/3GrGKWG7uYNCfTNlAX5lyEwUWJTLVs3EgnJF9vTqIKCHKoTlXEIAOAKu/9oSsarIazNYFCaFRy9FXGkE8a+ZoCKvDpWuhPNUPCFl1w4QdZ4HwBl42991fa/eW6dKIg1qTVTIXTG+YNaQz9QKZhLnnzNGza0gcKNYd++L+Gu/vpgVQdYFR/W/GPHopsMncvnbSrX4DQ1lICD8Wsv9chUv9HVr68uZmROt4azfCk8XHqXEIzbru3krXzpqjiedMUVQcG0ujCVKPa3B6pD+hnuD7d74Rt7D0uimZlN0Fm6n48LLyUSXg7a0kSravtW12YU6ZtMNLYXeSBOsdll0DiCVGXa1lrrUycKIcvWdEqUfyD9a03q3men3Co0gXLV8ULZp/cGDWLdwg6MewJ5rTnZTb8WlaI/4izbwkFUjYvu6d5aXzcmdGErGSECv7rsocILv5yoeidliXs1hjt2ub3Jk+OUh6cyWfhD93Ll8x80mOa5059nbWf998qGLzja1bHwxox69RfD02p69HqGFAsxAfyHAtmaeECVXelbtdPld1I1AxIeCKspVTDbTkNzICkfbwQjcmGlpVN5pNaUJMko9NzkvYhUare+4Oi53zzK8gK6JXn9IorqPkKCkWe95xzUYhpAAY6+M5/XNF568zvCEUSM3mWeCvaUMwfXcFXyFh3SV44/EZ+pqtziH24fqJWxGKjHyqnHALJUaCbTQgbNcjdO4q7qo0ZPi5rBtGLBAYKIWe3aznKfLhvH8EQ3DV4U8oHw+qGutaSDEZdLQ6rutVw0Q8erWteB3TWWyLD1AQp8bkUF7QKy9WBGT2Hs0HZv6c3TxPikLmvlnjSNNES4moe3y858Z7maQOqc37xsiWJan57sxeZYEpxOEYLbhy1p03HC+f6/RkX3rXzXzTk7qJIbKgxhn7CcyPBGArrLebCqILMuc6r1aR8PIFFPom9/Xd/XfxPWCMwz41XLgnqHA/PCeyeIJtdgEu/tjqyJe4pJJ5Zcnf/xSWW9jzwnKmK1n/fgaIruio5Gl2h3YbeFWsKd/aT50bSSQ83wzgANVDn4ihtG5zKE9hSJhfsPG0JQK7jl5g2Xj/DaoGrRyr8HYRNmnATbthJkcklst9OV0lDcc29tF/qPLlcLLHKiuhC78WnquAPv2RvC1QeF5HmixbDrwlvN7/ISyqCOUm+g82xwCYAEPdV8PG4QqEzJYmNkL0S74bMTL8nkZz9Va+pH1Bx99om1s1ME8fjjOheC3Mvo4rSUHPAzdTJ/WRL36MRib/Vvo0Gunc3OzDacCR++pioG7S8heUL8T2jKHAUWtG8SEbH3EAR/mbIbAyCNWnNRsbcat4QI+tGyhEpmy/Sy7qZz03fuElPYfRMkZHwSl/GugicChI55rJmIj+xlnOGWOXL1KeI6EGPUyqT4Lw7bx/oHTtzLqArZ4ukUejqdGMSiwiBfVIWx0Ltfhrzbqe1SWubDV6mN6jh3eEzm71gAYBG4w/CNVzgwPiLOhdXdi86va1bUzHjBIVTWSifJx+Gz5RJkc8MvlgGYEBBSjkyNWeTYl4OaazhjOA2szAP2WJM97x3kvAxjRJf0gmfb5d5AlMGo3G21AUcXekzMIhNcrXBQ+c3ctVdAE6fJ0e8LpnI6ygiLXX9RtM/5cPJZjSb6/MLudYHvGC5tdDdBtUQcysVOGcqx51+bkoqm8L+/G7OqcGmAzJUoiRPppGwIIA3yhFejfwWUzPZTyNdiRPcO5AX9Q7nWxYlvKElBctm2SuweytUWdUr7b2bVqE65vBX5InvqEI1cVaxIICIWv3C2OSBUTyTJm9IQmFFxaLQJmhNOGDoEeplUn7+3oSJcrIz4kgE0vEvDifdJsA4E2Y1uqGbySxgMRkOWUxAIvdDtGn3zTSjarrGwuoY70KkdpLAfaQ8KA33HJ7xIkO+5Af+fISW8IKKjKDJTyeutI86pipFBVIdXCUoADy2nVpEqWiA9dmdBzqe5m5QBWa9ZRTW8ehX+ZOxhhrxIC+mhGiwUqQdqjNnv1WuEJTjNNoT2knS/vyYwGYsRBnOe3uurXO2hBy84h93aqcAtBk7bXRa7sf7d0Xdk3KVT+DeLFax5wX0zeyiqhwKo4uuFN5Ocr4fb0z+e4PVjgqiTwowjAbC6bCwmv60dqr6pjrB5kFbTrMQ3cX+IfQH+VI/pGZH5WwGBzj4yCkx2rIS1KvhyHVblQ4DDFuiI6H2DWK8cpvU8mvLJfFNTXz6Pa3wX2BGwd8aCvlicGhHpox9iady+U//q+tihqx8rqLO6rznK3caro/45/gXv1Nbu0SGUtgt/UocZwRVHw0ABwH46iRmv8AVoZpImZjS1e3pvYFnIb2LJ3TXWjbUiw44PhNbxXQ1XZCETNYTLFkfu9CtDdtUZSI/YGAnbJCLlnGRMrp8oPQIF2Pj709cRC8Z+osCauCONMOabKyRBuLaHCvHGkd2tWQwnMsjAgzkhB8x3v0t9UuC58pHXZwFlv7AztHzEt2SNpR+IcmjZSLb7BSc2AEeUZvboISpKbzTN/1eXl1wDUk6wwBkx9wYebXeEFBfcdBt0s7Qi7bvxFILfKcTG5iwtczvvqWxkephSrSLxQuXnAPSpKnCpwY9/uiWqRiBO5T8nasxZUJfPotnADv4WqiMSzmwffVr6jPZOSqTViwjZH59JIiPVpHECDdAEOyZ7Cy1gYBwhVsQzlYH9nkM3FgTkrcUqZh9v/i+sgoi8XRPqVsdXHm28SetPT/lYZzOwchAVfwSsN3aGFPrpvRF8chZAwVLMmG/fVv6TFjEY+ATKQ6TR9/j3EuOqrg3U4J36us/vw/ootvbJD08n4pf4JOAfI6tr4SarluCXlzzkK70TtmUsIF+hvmmQY5SprcFI7yMsZeBN9Zjor832+1HceWqfyBlHQdm+d/TOVxhIH8aHUQy92Zr1TTEeYCTfFksuJp5Jg6u7k3LTJWcHz8RFVRAaW1yNh6/ETPnOIwbkEdNKESfgPkLAymeZmeOWnQqsClbr5NsE80UU4roQYoXaBVNlIYkiRE2ktDqR3Y6irh3Wsj47WOUixfilnv9YNHvopq8KJU6zzXvCMZMqxzPZjqCy8hKbp8PD7pltZEyslIbglkBSAKpTuZPPgMFd1i1laukwTkEti4Cqx2kNPhkTKzujd11pNd7HpVoS6dca502TnHCeCMppKjZKDlbuYGAx98/Qys/CTCP9m++QWTitA5SoYBgHQ/K6Gd/J01DASMTeLMVkEG9eEGD9VFFtyXmZ0SV6fGQHvJbDyV72Lki4U0JIv2AWO1Vq7DU9SJmlqeEINasZqNm439gouHY8RNByUHnIF/4w07GaJgqu4QaUxF3Zxfo+bK/11IvQ0cIiYymVqD17yyvg8u5fDRY6OFZHZ4egP8XJz4X2W1fnb9jhIqiW46tcmtSan5nRcjYYufIvsNr8GmStuoSfaEXLvQX+sWbiLkRPTrjbQjcmJATJj5S4Lh4BelzEIMrBiqKC4pp0MRbxHSnoItrI0+NGUIqmGRZ+LGjySvOfp5o9vPi9X4r8DcEKPeCYAibwb126FFYRHfkdCb6XAE+k8p2Y+brk8mcJprkYAAjbti3DdwUEWScoLyn/AFH2p+K3pfcTQsCZYSvWmYCHo3Di1QxRLVllpx7K17com6tCcpjdyyp8OWCWXWO1kBq/zarnAkTl+NmdNFuwhMU+FP1c5CFoHd6Y0jCEPgN0UKLMDF9OTEfGBCQ0AE9ufak9Y3yQCy2RVsBBTIOcV8Q5KAly1kuRQByA2RyPSGQmqKECHC/c1p2qWhs6QAn14+yk23/Qwq2Da3ERdT1V+f8qQkzbZwCl1OGaYIBv759MlRFqoX1+IELZF1O933Y5/0bLAeftORAo8MFWEb3UfqsY1uGF//nL/lpUzFbrtMvp/MTG7/z2lSmsVRq0XxkajCEpDSSrKDYZdLCxKfFGqRhzRUACRGh5oDRMLrIWujUuNye9Mt6OSO8vcAhVqgMRP9UAaibCaBhBB0+Y3HZw4JHXkswAQNXe0R6orzuK4pVtVlPuEcdx7byy3t7RBgPl6/5uXn2P6mRlQxfiPs4hubdbqonyoKwRPfzEfU1CtCwCB2b8Aua2ZKeEtnL8BeRR7W5envaMt/EEiBh1j4R+efxsfq+BMNtR1EdSiBoKimUC19gw0GjE4kq82zryXO/FeanOqAKnNPcGC16i0klevELAr/80ZCIZRK3ESP/rrJaAi2LUBrY3IodDwxtSsSXj2u7yo8lsqVQaaZN9g4FVfA/68waAsOy5PrR0eax+wLII/pRHfMrgws138Xne65uxE58s/3W7ak3U4ozuv7x8PdrTUBu278Z2wfAefMUys5aUtgxaVeO/tOrvZc1lNmOiLpEjLcyf2pQJm3dowz5p2pgz9FyBfhZdpZ9DXvZag/th5GVv6bdmoBxTQfzh/yQfJtMW7tikzisnjSwrm3J5EoZWF2GEbVpT2a1mJjiMRz6z8hK+YVEqMeiX1tbkvK1P8fcEkIt1Yy9KetXhmCy0Az0vT6YL+we2zPZPktp8sMVjwnmbf5DC0LcIdeU5oDnjXqFWpBf2Fl/mRaHvJ1QtrPvlkrRW/77sfqolS6D1iJ7mQQ5uv6XRJ4gpg/Uu0VLdBl2SYUcmBd+PpwR4ATCw7w1g53sQFWOSnmRlGXx8DQXRupL9QpUKqJJczKIxyFVVxLRy75ON8o47njXIQaSCBP2kjoBPznMA8HYZwB1b3TmJ9nTy2p25ihtjaAtvmCl8v29B8Ee6Gb9afltS2gaFoxgDC6uKdSqoktMBfueS1iDSEOi8zCw8galj12W/7Nm9AggO4+85bf9WVTgs/jdH3i7bcF8osX0S2dagCm7rpo0MR/p1LJ5fDT9bT0G+gT/JZjXcbn0skMY9MEkdU6YoN0l5DcBgwn5T4GIuhojba/JvAd0TG2jDoXG4bf5NioPNRKB7oouZn+STj0tTTtEAJuTsxOUoSF2nFH8b8uNR0iwqMHfHTnSfpu//TUrtt7C3ECDokxFDMl7nNYdGrTz1stQL+YVo5w4GoB3SHf/+wTe32UwQMNPkMOXYScMITO2kuoi028s535V7eWyss8cj5TOv0CanFYAnfoL4jIMQM39BcK5KC2gQCTU3hjPUDgAPdwtKMXHvIKZQ8ajk7I1Y2plEGppwdzASX8AcU7C82uW0ZOcaKvDF1C6tK7nkflpm8/kYIOuvBEuHgD+Ob+7X682YpNPSVRVbqjVcdKHn+ePbAZOO2NC82RZQlb8hBQwsOTTz8gSJsWtPfqUcN0KLktb5sv5jIIPOjtSkSFUTiiZXcx4kOj+k1BcyY15e5zWvIPDmm8wmnkUyFT7jrEvWCcQ2DVDG7C+0nnwmBrF3sdDWgX+IveRDy9KqwscXrva0jqAfTQTNQ5wfLB8f+tg5mGHJee1onfeQRlRMXo7qOY1/IQig1I0mA9suDzMSfCqVMG8g2D8558ed9lBYjEBBF9fHdvJtIqxps7PKXo9+XJS4+Y0y9TP/HukEI+mlT71QGBqX/ZiLDQa/rLo1Rrf1Nr3uK2NFzPZfCcKoBJLksEWkhH0Hh4DpCZHu+g1TY1fVoDcrPiKCn1zGm5QIknVoBPjr7r+ntcLX1KB2Yr4RRfeIt7kPy0yMNvOstY2MlbhTQtbdpbulN3aHEGidtO2neSe/c9xdwvdReOX4daA5UmKAUUALGSclpvn/oUDGDr0TCe5qk89/eSIIS1A4rhzuwvj/NdDgV2ufr/55rexmGLCtxOjhkpGRNhPoW3OUI4nHZEmKfslGfYRzhLhT279xR7E+xUQgz5e9+cHQ8f1TdjBFFideq2if/MeeDzEKakKYIys9HrBgDQk/4QrtOrk/IYqxQjRltzUUZbPeebzdRWftXVqhgT0ZLEHmkf0xhCnHcZvXfYf01Je9W7/o4rhteuduiYIEs6rmF8ocs7/L2MrEu7dI8hmNN5TwE+4vvtIgYaXjYIHYyeOQW+ezn38xb9pTbqC63aO99co/oFJGUUL7jgez1uht8bX9bnC3guKRmjkyhTwAwpVfApCb3aaJzYVuk8HzUGz634g0xkyRNGpQjhJ52/1n2Wfi9OyPu79msYRE+yehvg4+4iRg1q6AjJD3oxdcZKqWRCfpV9jimMfreY10qBNZ8UJnCPIIdDxhfcju/VHEaDS0eSgIOgDBXkXUVMmyMo+9nuMZp4UO+dYEawmTiYDBtaaTHXBTK8hDZp3eba8y+WjXMTuYKZq342Luy6/nv2033Tkh0RamQyoISPguYoZCoNcg8GoRP/P3n4yb4gJ+b2MCK0hywHJdbuCzjbXo+B6LOYdGtoSkw3P5E+B09+ldLfuDSRiMEXhL+3iPOl9hAbfVJoSfHoFgKtBq+BoS6Zs9YNPOVaWHeZz3ASaEG+fCtuyRiNDfE6teWaniaL4ZKt1oPOFG33LPyQ/0iy50JH1zvKyzFkoAG4R9222tzl7zVDSp830VA2UcKHFuOKU3ktbvJ/OovYM7bHaGMVCnTscGfDxO2PJH6joA2T+f3k1E06k8gDqe8kUyvZkFHWNg5pEXOWyY5BQ+sUjDrTysITZ6Dkg/jB10MTpdb5bnx+NftfIlCcsQPwiI8U6SIR9aREYuRJFvaMZPXHteR5XQArt1mzje5573t+kW67k54to2Vbbk/w916BnkamIj0H9Q65AjL6xeXGwvKmLi2Ta0uT3fyb8tF6I/RM4PssZjquUbwNYQ0CBFEsTUjPPwNV3jCJSvVbmy6rDkSIvt60d7IG0afGdHJEZ6xE5NP9+UCoa1ekaroGHNAfAIslD0gbEy8vM2h/3rAKNHbRlr+Q938UwkSJr1NXCJHMZ6GldVVDVxBK7PKC5tgbjkwgTcvl3Kl5/VezOUnBmgjztHfHYbs7bAKJNGWW7ymyzTxCKBxOrLEbgGLzUZrnzySAXaXu4B51wyrjOoIu7ggE9Yg4CYRENIZBeFruzlXKXQ6fQQuB5/u6r8O6ZhjvEhCzKElj0OGC58ruWIp2MnEddG/VCWyDeav+AZff+TMXH2V0qkxcb+pjeef5sUo5TsEA71Sf2DWopP9HxhdLuSvDhrXOFS9SIMtTu9AxgRbWUZUMxn2c2oIgOxv9kLJnS+jZ4PoLa6g9pPKGvQPffOxfv5s9Qf3UeAxN3ARO0Oy6G6y8GVanCWoYa9ihcvMwyvbQ+Fk679N/jefdakXO+jH6nsrF/MM3BfJbT4b124UGpnbvRy9Co5q9YL3vbSCS9yJERQrmQ1gWARoFindCH4wF3blL/1evJfp9+QABqB3XFhqxglpx6xNPUDqCYP6EZMyY3x6K2hYvdyUFKccPV2ibW5cerUolYz0LDHcSRhGzY8aRV0Kp72s2q58jxoZNHJGuR8daGyScRx3D76PukEnV+YwtMYtuEwpq3gY7NfKFbkndIHgoBtKhXveIFalbMe3BfBM3DPWK4XPQdLPn4LQp/uNJYemUXGxMty8MWaD2S0Df7ZUFi/UGx2sG+ymgWMeeZ/6m2RfQxhp8Jp5j1d1AycdvjQzbNc/1ysQPVkig1x9wNzfzZwtmzANB4UYATmDgesN478ytJiZ/vBHZFl5LeoCSUAYNbADw8rGv/NgAZoXv0Jb4cQCnyOTsmUCBxEg+DvYmzTD8znYnADP30g+WmBKNY3E+NJ0f76M2aetfj8xtaryJwnDL+vv/taIMVzmrXoQUHvhnA015ss2FgqKKQPPATgnVBxN48INMhKZBvGn0MDqVB6c9Rx6vOLoCaLaBxlAP1DzT7oSYBlsoGnSim0ur4230Jl1JInR3GeV7ziRTXo9OuxlnBCVNTFcknaOi+2811CNE9iZapu/Ap/qN8hIbjwDL0o5exVYS588JUQM2w5b4bZBL/ojGe1hE4BotRtoHx+jQ83CZ3Pjtv0qDbA0/X77FkxIKsBx2hSnxrNgIyYFeccjBX7aoOEWzR1WEzaA+Xx/ZMYvDYm0bznpml/A/FE46ENuW1OQlFP/HN+01jANQKPbES7W49+idjVCcba1L+hY/U/d+3g0XZgA14qlF7mhvgmnJg4cASlXqjC+3ReGz9xcT2Vs0+ihBSYIuxEWcp9KprziaWax4GABLVQ3PBFoqtufBZrFzmlxQTLq1FpP2ep62R2OYPqIoo0z8qcolt62EaRaZhFTTzPBZ090nvEKQL6cgvdhILDn6EQi4fuyD7nARffvXXf5FzcmGxAZpTAQ8VmUk7O4cA3x6tKLV9Vh01cGITSA1xZQlM/10E4cjwnFZL1chZJ3Iz4I6LRWx+tQFodUnS3nelizcVGRLlx/jPr7gfgYXWHJn8Y04X0tZBBJ0t5G74oKd/nhwN+NRW2aM5+4U3NAMm069wjkNORYk5VGE+Lo6Yi+X9IjMsRBvGp1cENqdT5lQzDg1HXp1++/A9V1QvaqJgRDuqL32+y21SxC4j8feI9iMs2FG8NFQH8rTabYI92qAMS+RyXiRpZu7ji8yQvWMwswl/Ib+dF8ihLsLc4wF4/dKW4gI70CUV6BYe4o/hx6l1ZnjQM2dF4lbIUpW1p3o/zmfsjr4Eook6pBCj/bFL7THLGj0w3pC3B4lqgyMVybBw1UuAEVcJyMSXJiJ6RAWAWE4XZ5dvqhmQXhSDz2zVkVMvLhOrjjeLtA6QEE/yGkNMhNFOMwOuB+yr3BffWfpF3/K1NhuNZpdTNv4faxqWUi4U87fjSZ6wpcQkz6SFBq7haeEC7cEFmN3gBEyzorBwApNKIcDHKkwXBSmbdOPnNlIRRcrWAd2xe12s2fU59y6zAkLRIHgcr4Xs621hvAfmx4u/MB0KeUbOmuL7qhlCVdaEf5UiNXhE2S8GfKmOH+yzvbDzszzpfWGKmUxNgKfCvk2kwdT0xVEX1YZV93qTZ6C047G2eUct5TBFELaqBf1OHzQKHTjcaeB87ytGIuStEU4fgsqAjJpTIHXBuRobHbF+JIr6w0hbymNXkPsaagqfXBb5l2AMH2U84vfb5NSSbAL8ipBx6o3DndVa4IkNdQ+oo4lI1IItAsSk1nFx25JumeaPvxjw/ffbXqqaz1cpYJaIu9opjXZEMRUtAPqgHGwHSRhDeQ78uBHv490Lk9de4wxuwh30uX7wA3Tvj9Wt+reaJQqAmNlt1Y+kIrX8I9GksKGVsRTAFv+xAdz/QXgj7oHUDNXBtLyzjbfA3Aprvs9I3dNpQPsxFiwkQk3IbxuBO4r7aRLlqlfm/+iH7Wdi90+YorJXP767j6kLWPL3/nONYqGBr6UiIoK3FBAA1MycstO8zR/016GSJo+tx1xqyDq2SMbwXSb/rU0REoLr9Ll3hPEvv+k2zblVraUA453CFdek7j8A/889OyEGTef6TIJLVu1e+bmtoFm4Ra5NvU1e0dCUwZLLZ57zBgujMI7aEH4bbu0IqmcFn9+kbsnZiuqJFB5FWxqZWsC+38RH341R72GupQaTco3pCB2ZmEgu0dUk3lzXhvLYepB6HYiTyI34HD9A35wx/JbfAlCaHE/a49zGWqUrR7A4frl2Hocj1AvXyx/WOHQYUq6OIHSMkzzpeWA3Qw+YdxgifFHBH4s9fA7Ti5jesQelofOU2Sqdr+bRn/VI+DiK7tLpUSTmTet81c0er5hDukE0mmemAClTEe6cK6Eh57pXOOtnd98jyyHnPcayI4KOA7YeMxe/GUAXRDSijSTjb3FephEFmADmVNmh36OJAe5ZwZiVFP/WGhGhcg0VTdZLfhOenfqf2tGMU4bKhfK/hxCm7wWrw17rvIi5+P80qvAm0wWWult62sCJKQbbOWrMcc98OZwgX70UvS5j04kVT0UnjXhMGggXqJF6h9T6P/L6chrvXL4ZOucmBuramQ+mVywYJpFLJSDvVr/qlAzxnobfZDb/t30BSCLBES4TWWucGweVeaRzGCa0hqOL37Pjzl4RIsnW7hGZvEolCjxe6CpH228Zu9RdMXcR+wxyiokL0d/9oLvULa/m/fUJGnuL4MRSOeJN5ueEkctCoUHAl29N0FtrDTY3hklF3HzLl/bF/4D2Z5OzHhZ7BbLXXmvdHBYIw9+nJlXwRkwYTH7HolJhvP2xjwH7SeqrGKrW/s/D/HG0c8kRRh/OLjNiTERcq4S57NxTEPBXq+INy2P3QQxUVYXBD0FLCEFeqGrnozjVgE94TY5blQKGRpl/Mtilfm4LS9mTfX49Hv4EAodscTfB6zK2QFdh+ZXezgiEut29/GDWsXVImo+Use/efZvBKPvRg/nqZM/Odc1PRy8tLvnhr0sUyaQRexk7IwgBfQ0usagR5piDJB35zwu15UHuZ9ZPEDUMnQHopLobc53e2rr+2GT2XNxZ4N896b6r7c8/vn7Uk/m982Vs435qRRGTwyd4mqBLPDWnUI6pPByp/yQ52nJCAcRC5UZUchYl2dm6dPrt5kVU46TsiNCk1zqJUJA5xCiO4lKL2vfQCcQu7eIUMTFZS9V8HcqphvhKys59i76ZJp/SWU2Wg+sAiCz/jS9z029Y6k4b1WI2ZgtZb2C+aQpkYR+rjBa5OJQoN24bAv93JAVeCb6t2E/dlg5Umb7kBTnkP/AsVETOuNJDqdfcan+S1tnxtitJkI6Py2g6HxgE4NOqeozvYabKGxMaGtbKVOAY2V+PRX9eW0g7qWfVW/4fZrKLsGI7wGQXHs1CsL+qEEzsePy3xFyFgtvE3r9gkHXxrYgG6NEOuHnOktEBkZFVPFHPUNmFergsimHLFnGOeYxPUP01yv9a+W0XKY1D75X5xwCMuNFP05IHiTzAWJjE6E3XY8sHmMFiDchYq9uYQBHHSpGnETDIg3NAPbDc7/dVWTRmb+MLO1c4LDUk+YvL2MgkDuhcglWppxvGIHvR8dwTvxIiPH1nHhLmQnBplGm4guvIhFNWw8Mh+y5JshC7pvYPA8DezNLTULYP6+4hSkyF4jaALD5ibFf6oP24wUVZzWcWI/ogMuhNCDYPnab4wAagXBVjj3yt+kYJp9EpFZS1QVyuD2Fd4IWK+bGS3d621Tn9sEueE6t1I1ElH+9ZfIOenO0KRhv+uyfBD+hrftmLJX2udNcVddXOrj0x6T3r+xa79ni6ZhwEf87uexC6x4FFyxjNnr9auvl9U3awwOL+0KjM0z+rlz/BJCKAZoC4eaMUUbcAI2I509XdbSRVTZ2l4iJJd1yzIaFt4NEA3y8txADpX9RrZX55AJZXpXG20vEQHqkSSj/6Z4qlhmth1/S7pmlWF5KZ/lcBBm3yOq7NCkFp7mxoeisxOvP4aMM9sxJ/zT4qKy0Vbojk+ODaS2q9m6jbtkj0X4alqSTvZ1v9mYp+pZ1av7It50XSHlDQarCaDgcXN09ixGUXAQMYZAaqc6Le8NMfnVsY8s9Xeqo6n7BvWXEta8us3y1lfW0My8NQZpcpMHIu8iCCLHnUIDKI/7Zpp4wgC2euUMXR26RYyzVTqEaHyklu5qZcXnJramC5yB5hf9Jw1bTRAaLoqSRNxIa+OS96pwCis/O6sMf5GceFZUcsMJRm55XwFWRxDjrcrTUjJxkJCyfzu+wyvhB7/pkPdQcrLryvuqmrgqysovZETSm08Ddu4cSO6Al5+D5NA6WEQkeTjVNLXhTHy1LlYlUdkWaP460UF366QP160ECiJBqaAotpXO28J61nkQBpu6GP0SeELEkatc4eU+TQBc8lWmlSJCEvU8Ly4mKlS9WyvEY+lD6KE3Nm3Ijuzb8ZGcz1JpjIpUmAR8St15JjZSOPTVSG0V82Jx/J0mzGqZobeV7xBqyoyfSxtLMIuWNya4HHqO++CBWv5IVkIUzeBIfcswsslN1D38Un8eLQHFnTvws7LBDd3aLabJcFp0onCSwD386tpYM3SsyYcgKOExf9Vz/jXWObYYLNuoAsHCc1N75WzUTiJBkqRsvr4XH5ji9/OX3zmu4MgnIwQVlhtpax9BaUrwc+4gdkir6UlqK4mWF7Gs/c3Nj3EiG07zAyfmMIiMCIfUIkU1oqWdBOA1EpcSh7loQnxNOHalzNqM/jVXW1v2Ycm9teGV1SwteQFBBT0x+wG6IA+ee/X1pQHpdnDYQ5A9dD78Dt4AK/lOXsEs3XgSNOAtQcgq/SSsjk/0aqOLf7s1Sz8JAepYrJVD2GD2t1NbnPERJVO4QJVbzsm1kY4ry0NCPFyiKGpTdiuU7D/Tsj2wgALwPQODYlm5D7d1eB8Hwkofg6PHUs9l/b/AgpDAq/xOuhdbciX9PXb8bCR677h4RH5+IxWNrY+Xlv9EzVUhRem6ZeBhuVnWAiwTAE7xWWevNRr55uEtqzt8eqgWewZW29FcXy2ToPm8N4+bLZYJ91vUOynpeUTXwMGkQ+e5/y8TJpJZkcK1CZ2CZctH1N7zmbwMLpuyu5zW6YA/TT7gKJxxnLNaqC1ovn1mv4KDpJn59a9uCgg3SewDr999a1qC1j7MyLcoIBeeMLh3xA7pOLDp+BYorsjTTm362hMKcR+edDeQ3jRLoHTWoY0FmTjZY9hetAYT5r2qMquONplajk0PKxR8nhm47vDC+pOAhNtX///lh+nkrbgPvXCBbA5XfraXEl6V5F+mm+cyRgemuC9AHYZ7H3xtsO73LtMGkvBQUm03dAYJpStabf/XPm9roFKvHVPxI6eNVxuYgf4k0XKGf4cuAmZIWymMhAa2D6I6nV2OmXHsdO1RsOC+gxofjkL6QjSvogPc7GpGf7VDqLSs7L0MnL/Xr81JfxM59kXzA/xY+u3whPPFZz+eTbkCp1Ykma7m85kM5lc8Xd70GrHcLyj7k2nR6+kK3oAGt7HYXH1raflASWf2ZsI6pVjOHwmVGicktfgrdP5EXE6v3lfryIiq9Am0ChGhuFrbrRtRhbtn24bunl+2wq99Mf0NGZHkt50wSbycwvJDYci21MwJUK8SyqzOLySBbM7cFgZU9vsGCzdjB7CVvd9OpwC5au6lqTe5ORyMvpgu8sP8Vm8RZrmhcfF+lRvzLzlzYvnOOIaywT6wErrmUhAKX7vKDft46NFVIEDIPYqRAyQFWoy3RCosNdAd0ukgNv0hPzyEMFkFlN56GlFSS0VWjx+AfWYH040YphF2GEBhUYqi8yEwqpdhEufvu7l8GyT377wXZHrXpoZqR7A4pXknydP0PMzTkApu1b+lAk24UuM0rY+zwtbd1Ok3lU2allPIZlDc1pjChJj4jno83mx95KudSKWmKWoOUEWIk0ASB2P/HjTd+c65LRfx+ZJSyAkQY8LevN2uBXhiSF/ACqiZXKVW4ZsNKLo9knr6oobWNZqSb/Ms6Y4G2DsoIGfFog0yycTLnhiQURxXKahQ9gnTsOO2FgEGe1D2MXw237Rg+aRiVTJaNGXuuq+a2IId1/TEUncp109bym4D00eLYJJLZX6P/ddrf6uoO7Soa5yLiCv+dRINdfOybOeC1/mlULK1tD1ZjI/AOqqSiOzJXbsJ6/01cvkcmD6WjMYVe5GIHMXGJMjN728sDEy5wDbg9Q5zxy4aeIC/XGgXbmTqyOSszc2rmbGExVu3yV4u8cx8l5ivUTcsD/ZYcmtsDPEj6aBs2eSHL7ObDbTSAi0/0Vzl1JMD2mPzZrWdSxfSGBVjSOGLDJk91RnXPlI2GxymRWxECD37qbAV15Gmjw0Af9lr98wJ6LedEmHUmYSsosiFLff8G4RBinanEZPmf/BZkZ8qGlE12a2WAYQEDD4pTLzzJyH61uZ8JWG7J4jTS2EnheKAVOvxmZqNYJA5cl56ASTRrzgh+GZCTTXj3iyfy6l5y66+Pf0mNUOoT/lBtbCUpOLTRj948uiTqzY7riJYQUF9J/rrNbK5GT/C0LtANAYJyFp31dq21mxNdOyIciEr3kmRhDXCYRUByobMKoLLrNEotMVzfa206Dg35ZLwObTWgEzNwSnhUfccMiPgy118rH9EJbvJ1HvxJYCx1WiEIKfeCnWAcv+7f+KKxy3SGzEdJHwxsP7PpKRqVmplN7acHHwmqsfl6esldnln196AU6/vQ0V1SaUc8/VKjn+Rm2PtrBlSPXuaetqYs0pLzQNzX3a8Y41Q9OcWCDl3Y0eKlJo/3jqpev1EbBvu9t6GnREQY+94ACUq/mSJh4MKWFxn1xvuyY4EdIap7YUY+QLJOeJpk3MGnJ+mRWJAchLPZVD6iRFyYkIlZz+YrR2VP6EtnIo/yu/5HFFmnZ04K8BkjOzYBo2OwhY5grVLl7yMcDMZBzK8gNAXO3ToxTfPhcq0iWWVU26gxkoz1CZIL+GJrZCSXYZj3PFf1rGQ+wxNl32Orlw40Ox8zh9JKJF4ee5kkr5aD0GC3b0KSHdiyenipkxiPLJ7+/fT0dn5PhuPXl+qbQrHs0m9MPf3qmrgX6w+trF731XNk6ziVkbD4026meeA2rNPmBUKmujMIRYxZ77tGP7VFEqcaVuDYEzs7tZmt0B/Wt2sMHhQd1P4SKGfL+9+l6f8fdBEI+4zRpljf1Qd+jCF4wfbJX9lZxORYSLf/7Kj0ird/yyFCAEQncTHql9ExB4ZA4n5G9/cOMmv0ULKOhfOo2GYh6S+06Z1WimTS13GNAWbxzHIBQR5hvBQF8R/Lg1gp7SU4l5kHW/CWmoYpbBtVbN+ZxRU89RwIh4CfI3lwtlzCzLcCsk9xEpRDtjrIPvRMjn1RVb/7MWsCWO9XLWvSvtbKq3nzDD/904Y2Cc1Zj5HsZmIAlEuHSYiv7QRkW1DOOKTsA1V5G11C0E+Ix37toSC7RUWP1UYy8Qs9xFGO6Rg3aQlhQ4L6hdM7TGU4s2fX8hsoQni2itCUu1q96KQT7Pv9+fyP+37mqsZe26G8SocuNJ+2A6lsWnSShrbo/yUEc6jMi6mjSMgAxYGE6GEanTV8/Y4ULIWU77Sc4hxuHjI/6VPFBqkkcOQlwW5BPwLmRNLnHJHVdmKAJNlMONNAws9vnv7vfu6i0he8UOqH5zgZwkfV8h4TIAQCJuve1bnOSHVjzmd0vA1U8jJQh02KBAQFF/1QOkgyeQpnvk0NyV3od9VFgLLbh/BlWVKnzsZ02C7NmUIP+Ln6ZCkECQtT7adgYiQvo9NpFUzrc2x+nPzonqWFUSEhsqvB58o2wWnzzpWryygAYy+sd4V0iUPA8KgbN+yG3+2qgVb1zAily/jV3Gt0iGyTq9VXTxk4P9WdqOO0dwqN6fM880T3stPk+jUyRwhgLUeEfaNIuQZrSK1KZRTkO0aPC+3x1M1LO26Kk2X99mHgorWEI1IuH64lyNgwJEN492+gKYSyhTpugazxtuAsuBdkCKJZ/O+XdVCIPvfFbOimDgOjFioOjNsaKsOAb+6pP8nTsxay5t+zlvgP6hVdDN3czkStv7/r+DsbOHD/3ZGKxzPzeDPtI+KzTmYWhNBqQjVOC9hM7ieHwPcGdSqqHsoQZOswKGttYzO/NhNE4lr5Dd4EiOU1gdTdxa7d/Vn8iAfPe5SuRLlnFuF6MpLO22fqFBh4IUvXr6z71kjEwguV90RY/e33gjrvkJ/bUA0jq9wU0sMk/Ew2UeovQ1KjIasDMxZVJigVx410XhMs8k267C9nIp1eMN04SfBjtZeodYPM4Tp8usvy2djv+wwtI6HVRuGwD3EsOb7RF99K/uTr22HOfn76e23urx5FQfakbDbGbeF8x+iLVSfTpm7u5nMqa9uPeeqRUW4Hb3ad+426MBOC+AV2HffdEZJi1BLY6/7MmJ+N6lZSwh7VQAqWs+KYTaOHKiLCJC4bMuN9EgpBiXK5avXnc4QkNch7JuK4bRiR31I56APOq8b96Jbu+8Ci0mOE3PeNPCK4QH4AIgD0M63txi1aIp3ICR73i03aZ13ddA/hYtCnH0vB8EFJgspI8dZLmduxEC8eOWEPeL+IlYqhXPo243sfzweXGsmz9HHZYyCas2IPBaTZPTd8HpHisGgmnU3pL+0LmQPKHkSUxNX+lPIAAQe7LGLqb0BoeZYM/IT5aE5ZMYGUivpjI/B4sfntPT7q5nyB43J9P20uePQy0+Wdbt3w7XAlVF6Z54RJJhW7ebsDc1PRP+BBACKTVw0DJMYGdGNa6qT2t+rrfkmktp0anYhoSHr4K0lw/yRHTGUbk3LikimBWrxo7B0z+ihl3ynHwLl+Pwntb9WSE6A1VYE2YRGU2KDuXNTWm+ZUfA3bP0yZY94CVEleWE+WQxA7nY9f/p5tzJlaMwHnO6lj5VrYMvQU7pApVs4UjTiNLk06Z35VEVJvjzuabkJ1ZY3LydZ/gQa/0PJYVkHhwJvg7vUQL4Bl0nRM+FtSwyCi15ERIY+w9Im1mpVsDRw1ogYlqh2HTJSSspm1due7rWQKmhy6M6QVKrScDbAcw8EfjHYWqGFHbcJQbzZHyhRAM18KHaPw1I1qU8H4SgDElm/HI9i8Zg4/Jx7Zua3Z3pVaPbSaVcLsKyxQgB6jxk2CaQnQW8xngflKSG0YkXDzZsDC8S48ExLe2yw6TWSjRoaR0XnyODBWMXB8iHCLUoXJjKPRQBcLemLe8LHFnsAWJptXX8hsFuwnepjORnoTL+mSCPdWjMCEGCq48+tB9/hi2yk0iXNYPjhuNh34xjMk5W84yAgpJZVLUP2emm8imkz74j10AsRe/I32nQ8P2VIJB0l7wod6MDvtaSbcwO76fauwQo5y6/gMox8/ZmyFLspzc3fcV2gEqyL+vF4vSByaPQOOVs2W7/rIY3tQGKZ3oR+vVN5+L/MIbSfTUqlHi3q41R5o/Y6ev8E7irJ8AaplQqvE5BbGM7dPGlC0coWkTSuk98+zmhhJEY/sIkkbyeEBBmwjb9HjI8wKFW/MaEqJz06n+XT1u4wa3vOdvvyWzjar/lxcWLZEKLWLnEmCgHJoQSm1SOgV/YuQdPdjs9Kt5XomrvnhWU4wibH72aEiwSfAkJPe4ih5h1GaH4PfuysLW4xa+YnQpooRKS0Z9k4Wo+Uo3XI8l8vjU2MNuM15TCZrZ1nUOVS/Yp4ZztTU4o2Q73WiFDTYL5FoqnpnIDuIqvgTBj/iOv2+vSeCdp8LHhoyNkd+T4ctdNDes7Rm8gzD/SajxTphE1VH+APHgGz4trD2Tx1H52POrBUDMBbMz+5ON6eaJMivP1dGN+wuktNqdR428oJsd00XhHW+j9rwcOJZtX5fzhTe6L12nMwEr5/DJrUhT6toh+8AFD/uajKowcRdXWQCRmEB6R5VwqR1umJ9HfNGeWtnItD6Dzs1FSGMhN+q/MEu+Dkl4PWik9YodqBgZTIp6tHz51Ln8ISPiiTjSO73Xmvn612VRL6wpPeAyxWpm5CYS3necl6z9Cw2qF8jU2i2EL6E5ntkSqcZVn1uvmXbQmYxpeWiaYIKNgs4RShM6WPkPnQG3Zm0xDQNQ4c+13CpLmHceZs+DmBMm8n4oNb0/ed5jNCSlEkqtiFf/XGrgH86EtTH20/WO65vNoZyGDKvRIe1HGrJu/0/K/Jzcz0tI6LPwc+5MvjNksX1AUKSCSev4ApUdQO5m4t5wYCHyD89omuBVqlpFq7CwUtkudFA4FzuWeqxqYZBnkxjxEz4TtgAgtZNc6TtSXB5rI80Eh07gFMPCnCZijEJs+y0q85eaCPIg/SKXEctvc7JhRInk0u+Jo8RqeCsuTwPre3CRlD0Gl/r5iFVd5KXru0AYbNvdVTQlnCgShaX78noNuftH+Few9t30yzPf6Ig4jDoO8AbgQVhCWGOhgUP6sXYxpqb3l7DSVelIVR1T2doM9xR9HfQ/Bq2zoN282W9ELhTMmFPSe8VcVk7xiaJkkaQqFRCpY3b0xgZ52AbTuA/wfF9G/kw20t7JhdIN0Y7B1YpQ/XFe4cFN/qVlIj+F2y3a3+1u7Gaq9Myzvm0wg/gHjdVpoGvKleSovDbXk85jrpw6uL0QU36bDJHecJ17p21aVKMhbb8413R6+Y9gyQ6hMckxjyKROYTrLelkQsNkhP9+A3Ac+E3rl+sj995Rr+WxU/kutsDoDFFdx9nLtm/+QSzlEqOTBfato7axmbvYh1pSjJX2snovtQYDj7c1DUSuq0RQ9+ik7mh4/qDO3HqRtsW7NQQtE1Lsh+Mbn567m3LpJ9gksCGKm4m++0of2TtCpUWAs8VaYl99X6BzVg28TNFpjKqU9xz3Rgp3s6Pwuu8chM5lmoGSVcDgfSFpTTz+hk9lfPGl2lkRqIG4OkvKG3LhMxLqNIuOAJNavIuHGy+DpqwvufYK6cmFL4AiyzNwZZKalL4pKcdf/jN/XwPvvfZaN3gX0AJebotQFrOK0ESqhUhLSMddM1yuSbLvAstOfc9jh/7G+6RAWQAXuK1T8JBjA5zX/B+VkwYgq+zoQRa6ocmAhEzCTuE0YxgzsUzISRAkc3cNov9oPUx2+B+IVBewt/B+jKWhPYtxpBM1ZQE75SR6yAwKZ3tnpU7vxP9JwcBmurCYaBPLlV1Rs03Mbsl6lNKSn2gnwc8CW7gHrfIfraxqQs/UCUPtnJF8zHu20Fc3ZLzg8nS/FBhabDc5EALeU5DtGzEu98M2i4doliFCZ7wK7sgxrd7fCV8RqkwN1KcFvtnTFXn1bbrNZieXvOz2Hm9hQzlBuH3nPoUo7rwOT8cGeI3g9oRmEnZ98n8jNArEKj/sYAGf0j8634rJ+/EQAIstFMeUDwzakbgdqod4BOmb+3mxNUau3ygx1ctDRWDSfm54XcHtRSzLUNjRuWWqX4Pt7NIGe2GVJVQ+NyfxiaVIV6UGfiwbYM9SZdgCs3CWjY3l1bi63jRVIEV84p8VQn4oj5OtlnWvOGhP9m0pN2zAIBbh4htC70k07GFD9e77dn1mrVVWUx/clHcgQI+MJ7XLqdBdWBPoTcx8ZThk7vGgN9rRVDVm7zDhAH/TGCdWp2mDSQfRipwqPMI1raej755ZWEwUXla83mYmOm6JNCAb2ys+cvRoX/cK4HZbaBpvMP+kFpvghaeTCfFKIgir6901jM4bPGnGCu0uQGGzGi3OwSAvWr0VsTwWXtyVPkote30oMswJoMi6iYm3h5CuOIM5XLrA2YpQFTNOQsxAcAIr1DwswdpoqML7ByJWQlWQPt1mjpQV0sXsFQxAzKmrO7aOp5zOToeaz843zfw+wm+qYyQ+3+5WWww0LwO68FSCuprp6UnQQ8hHtCpLGrWpU9mNYH+9zly/UQHQoXgHu+sp14OMKSYBfi7nfBU98yx65K1CgrbK41NZofM77lSqtUl4UQWDa4VjfqIt457xpvYh4n00PhPvYzEVTJPmbVK7wBjSDlnngQcq4hL1Vx6LBbF79aBFkPW6gqTY6vFDhaQoHR6EyC5QGfOFK0/xWuaX8M1nQFGWtPBmoCPQih0+/WP6J5ygXQO72xFdNUXX20TzPYSt1ucNUMsQDLBFfRAY9d3AVHIHhcUiML9rut8PVaPkyRjBExKd5j5R+HnMvWs2xS05zNV0VjiqoFQlxDoQ0W9yhbs6fob72p87aJXG220eZ41iGEvFqD/lqPM1P/yVAdRIGcwOav9apq+QTad8CjhLPmz3Sg8GQnCEhSOBlEzRNx5ILUxkXa/DDGLbb6lypngdNOYQ45B+uyPYcvDcONeqnAj+tEIY5HjFApkdDzVWOku+rcw+JW59GBGh/sUthbYWGri4X/gNsiLkT3x1i3tuKFDwq4AIcTFvq11Wv64oh2OyBLGsPln2/Emup3ah3qm315sL3RhfKS/QTWL6zD1v7g0ZfXD6ulnFPTotR0XAEPI+nKs961zErxGKb1vQteTM8xMDZW0lUy5TbWA9eXaw34UivQp85kAroXVQcWb0cGxXWM6wcT+zokASPLNKQzaZBpE2NwZJrg9Xy+U3SX7tuOVStiXF4Xt+iiYA7RjdDOWbL4ZCO5daIOvzb+S7HGkOCR2ZU6t08WCVeEPUAXmDIp0uHr84mvECKDvcb1LPT3tChX8Bcl5F+tDNEmhLvigY5B6Hk1tlvttW5PokT+lcg7qmCTxaeFKlu6S8tMzHOV9pk4dr8U5GO3OlrTNLwA6iM6PYmzv2JnNafOenpwODPjfJ/YfITYLttqvrU+CSHv1rINprTAned6J5XEzhYRgega8fQdY3sMHOyfJGA1ycJ709H/9Ed88HG1K6Nmm2AL8BkWp0ZifB9SnnNxTGX2XKc94BMAAGGo+n6xReU+WeZPdFefoa/m4wzORbYS9JO77TiMauLD+Bq/i4zdxaKpa/jJ2cX18upQv5XhWwrRQ/x2tYg0adoMC6UHgYDoMlKSGc1I5G10LSIuk5xXN3lccmOeN1pOIZFnaR8jbQ8k0kw45bj/7SxpYpy2m4uEY6baa/GKHazljeNiY4FciiFH7Et5cteigY1vWaRyEfGcMtb/tcj1ArDS5WxaAE6FLVu+b860xILiLZ/2/bTZIzUwoaPL6/rgM8rZOABV6JbkSBIs+WmU8w9yuw76nCTtfBugOjqPi4waAJ16Dk1S4ZKnomgh4RPUplddc9BxG1FzmaX1pr1djcsfLfpz6tCa2pn2lSuWpV1OtmlXHFVTZFC+xt9xhOwyE5pJFfcjEtDbdI2zJbc+JWT7f9f+ikIZft3x/MAcfomIZ63Xt7BI1e/sO69ARHrSpRu19m9ZNJ2LKKZiaDojBKqu6Kw4rgo/f92v7OQFmk2csAZ+eVlX+UHnqfWRdhxK3EXZtQFboZz4I3OEU21aMVqJ9q3Uy88cmeRaTfz7qXlwvg7rt9IDLCJvL5hF9I0lYesjFNThiMrHT9gk4npJUdVf5kEGzMm794hOl7TVfU7ZFbyzufynROEmb2kktGFUlwHxbOqw9ty3kVGVJcJOodn+TzIA0v9Ar5xZLlIOtVtl2DXjObgznlwYZKbDZ/YqVJxt+4pu6Sv1ujOGHGKhr0PTGYEnOn3ekHLevM7LHDeJ7QNF6SoUqcEOtGOSZNuf7c4GLWFFivrNIJIql8AfEobnuHEFx8NIHBR2s3qOl9OLg4ul89nQmfaLtdmZ4jiiHzef/ZRjAj8tG4teoz/0w5E50Ad1zpc7Lr8aMuG7vUGQsWIL6vwzhLIU8lPASw9n6Yuh4pwalPvUMh86Au3nVJmn6Ge+Oz7eF93h3d51pSIJNEnjhPJkb1BKl7FetjElDBOsLVogBNRH1vh9yr/92dNmM/TnzgvxoqW3NQPfbf/1gknG8sEJIuP0MTd9h6dafGb+hSNbgvByciVNohuYj80I5v3tYv6+rtjDz/vnxcfsRpJ/asK3cMLFsHFjIPQ0QCMJVEeCPtWfZzu4LM7IJE21IWXwpykts4tvaY7yLuipKpCX6vGI8EqL2gHwU6GWmzxfNSgv8/iMgOKizGeMQGV8nVSaZte0/7O1aM9zIt7GPANu69hQUPjcJUDWxXgeNEkSG1WIZ95y46mqikVklqA7N6uSxKWfP3BuYkCy0hUA6KeaMCJCsHu3VL+C8K/hvOI6Z3E1VX05vLHLIuyWqRtlo18KMKN/Y9vb7DxqVxnoMKaf81b5FUelodhM/9QPDXFmMFtnX6f9PCrYf6ywV1lrQXYUCXdDpEVSItkeNlLazBaJbAJkWbEFL69acuWnjhFp5JY2OaSL5HEn7ib4Nx4AgUA36f1qlYPtaGiuodxInrErlJo0Q1HcsTr1jHiVe+RfhQJ3QS17Ks857wj3Iez9d52txUCONQWpaSld6iwQ8Lkw+0LedhLOHnrGhAeOhnGNGvl0WjttUTEwpHEWDg5ISRRRix/zxDJUybE3gg2awcZETyMAVrv6H9Ll+OgpGYdYA6GkSBVz+VgnYuuGEUgWQtZPNPUNWwEOoO22PGmCXRvxzkCfzqySwfO6+yzdVWrNywhFGGbKoXno6IAof0J7QGXP3Z4QAeyTx1NXNGH9ZG6XWhMxZrqXQiFzJCKob8o+i9MZw5Nwja2giXEw3vO066eALVNrcXMGB2yHMeiN2S9qlVPFyC/WXRR1XEO3x292cIuccflI2RgBiq8+gsgxF5vRIZ+lgtgmtDM7q6vzs4sX+lKhGdxKq6LzvO7gcvZ2kJQB/t5TzQB4ODoVQmLvsRHI1dv4aQzlyWKEpYHjzfckadU0KHzEIDpay8JS7LciAmQX8PxZUFWCjqTUX31T16PN5W/ENzFnh5RjX4AY/rkgxXMFB84oaaC7tAurUzUBmwfjOnHuEV7Md4xyUkdUc/gWt6XRse/wzAuJiwlaJMV0dOG8rhqcqfH8K+Li4DW0CS/vUfWd/3BFtBc4fOI3z7xPa8Z9Yhjd3FkDJCzsatYV2GTOS53a4hmbEsdF4nFHASM5+xgi/9ivZoDO8IsxaW7NXJgvoV97Rw9NNX3jT4peVxBEz2vqykLbonRWir1SyrRMq9ISwtPpK1SfzmWrQOFBYdEHoePiNrS5mk3NV9W4SYDldnVZSdNrXEjF1Y/HzC5o0+J1tFNgksqLrBzUUSS2lBiyQJIZQZwoLa0nhWY11AQgdW8Iwt2H+IRyjpAKRxoNiNJ8Di2hzFrI7WUK+PO1NttyylxiajdDShpOEzCD7ewZyWzZpvAWYUK0NJZJggNV5M53Xim7l16UuRlpORY8iIisUcxu2+RuGh2vWYPd7yuDtC6w4trPgVTzNsxR/3B5PlU2+fZqV9VJR8ox5Cd6gAFG5gIYjrV46wnDkAptOZbhk+UgGPzVA5q/DymQUmiCShqrJjVscma/AzIT+l16GW7un/bAgZJ0ojdlR5Fu0VpTVTcUdJgbxmyGJrlwQT4vwls12QKnYy41BLgWsjUClGLbaqjuukEj2GWkBWaEIyqvYWzS1q7MV4NZIGqvUCToZ3b1VFfT86UOXvuAt0AUlDWrihBBkvShJXdOXea58+wWRDBI+S4Bw/qjBUVu22QcKNh696juTkkn5lD2ZqT9LoIxwGfItt9UlgHXhtRwEu/1On/x/r2l8HJSeLnhuDyWRFwAhpu+e3dvkoE2WadmBi46tCOZNSIYQ8mX2ph6gLha6VNKh1g5zTHr28JvKyuTLLIoh4SaIMyxDXQL6YKG3Tj+60F3vkx5U9Y4+qAouvbJkLAPkAMZuJH4LWe0Zs2xcCD5LSI3FP9sItmXuLAQIgMb9u1/kKO0PnT5DTq92hek+SShoX0l+yrPQVO9u6syRI9m9iEH9UbWfXkegsrWpSp+v6tQ21OQUnjFENqZjBUmMKvLCXPEUWquhtO72Y4+LA6JQA5vsku8cYfaadBsMTFpkrEQXNNMOXgRtxfMTQSsBclXXkHyPu6PNcgvwru30bukWvp4XN9Us5epX9swG0ZdWYue1h8XD5O0aMKUiDUyuhH3272PD6c8/FMzJiLO2by92LEM5Ebr7Asyxt5biWSuqHriImSEaPuQ4SWv3uSYdygtIOC/4wjzqWneYBWW4AGya0rj5GGWsrZrpEMF+LyhrJIU5F2vZzOMuhMAy+fa9r5VRsqEeUW8gKL8iBllndxeqTMonxuj0z+rqtMKttdAjffJgR77OpFIIhV6l2dD1KcrrFSEpi3A68uL7tSqsF4YA1O2yyfkfToB3aZruBHVFIpf2TI9GhZ24N3uuz05sWcU+dV44Z1TSrtwaTN/V8DHoBWHRgUBy8pWL4ocCJVJZigXDXGgJWhpN59WPv9CNnCQgyNALpg4JHQD6OeWDIy/XYbhQSxQLbu2fwbmOjU5d6rTaXA4Ll0gj9Y2MHCETF/GHKClPaYvOLf4mGNPq4asaY1x1e5K9NBAErn2ZYlPWqmX+TjSlPMnV87B7miYiv/MfT3e+0sGsVK+zW3gJpRjNcPhY42y1qc6kgs/0oyUAkQgbGzm58mJmRe2B3Gmr/AH6Fa2woIiVI9Rtaacm4uLOqLe8VfpbB9WTAFG5u7qwc3yamiMeXWTWHk66Nt2ODF0BxwGHF/Hquf/1YouzeDM8964HYQvzBJnaM7GzMEZCuJhg11natB/aFKatTv/mLcAeWDXHzT2d+gJ31d8xoK1qx9VOXpRcm6EJd9lsULo1I0WkO7t6f8rEDdAGjwdCBvsJ6y58ikYehMt9nLZXra9kPOFLc6pyJPpTNInAyj3ulKsB3Qp245ZpiNTVOGRsTaRvSUcPssQwC8RP57QleGlgijPVt/tkdx7g0siRN8u5f+vZTvIiwxGv9UJRrEAibWKk9x4SyHwVY9va/wfCFcskAxSouCFvu35kZPRDtNzPx7tr00/SYyJQPJAn8WZXR1byLmGNVsyAwTac+y26syawpEqF58g6WzXuDAIxkKULMVJMjcf5E7tqRzGsQ/7nATHby+WogolRv6Vi0G57lSviiovBqURj7hWc6ZvRsjH4ySqdHl7+ARMhrICTZlhU4npuASfV+BPaodUUWQVSbxd2uuHD572yYn2eg6PWp7eX+aFsiIqU+tRXZBcOOjaH+CPxlgmeHz/tAz6PUnoNwRvV5AoZ1Pn/HCNoeub0oS3px3g1d4OZC8i3dvfwHoSOEt3AQt6lXSH0sr/hdyKAgY5E+Zc3m5L/KAhcynBrXGewG5Cnw3Luz++tonU7tpJOHgYcKRLPY3Xnv4cCzsZ7zm/K/S4C14PyKvlvv/fwTfm1iY/8F3geybFNd2nVMpeQnVOrs6AW8Oj9JhD8fMXWvwbuyzOIfUcVO8p0EliRWOojuALuyuLg+rWccj9lnQviq0GgC2BmKkSOy7YIucR23z3KyUYq5oh1Cv9cRHSyA+4KXQ8/NxAhUh6iGCNZ5U+YwrElvo5iSbpyXj/H5UL8XqB+nSwnLBmn103GgGd15ewLLl9DwFiSk9d0L72vqDmKW05WCJaBnAj2DbUTdH1xCeIy4lJbt3oDRQEuCqSlBty3D8jMryIMVUHkbne6fP/7hTfGBz8aTDRT8CXAlgsBCc3jBEt+EquM4i54EbJA9LV2H/fvs0yQg/FnIYikgPpHrS+kQ8fjQI6vGQCpncEjA17d5kwMlKTSL2ZHtJP8o9vokljGFHYLB6qpjF6Iwdi9RwfX9z4+P71zW+bYvfC3wOvw2ZzqLADg03/aBEti/S0WinWoQHvBclXcCygxMsoQAnwzdxxQ39ORtGniqhKP4AYooNo4JoRfETCUvRT9//Hm7SxZmW3Y5lAN4Iff54boXuJCOVl2edeyWXxQzDfKZBFqMmp2GfnJSYogT8Zz29nNta7z6BeXTJije4X8srR0hQ4UvBC1brW6vZWF5JRaT8povMeHUlfNJZa8suITzqAXJ8aWiOivIvtQftct9QEISZwNhKbhdYkouikpkMhYNDtE5pZmnMfyhaa692+aJjc2754E2e+Au6+AigvA5vGWZcRf9Lv083rinRvh7ZzH+zezXBZD8kqSyTIZwm9h+e+refGTs4VpnMSkP0tv3ibjpkVDdf+jSr7A1OVrw4f/pJVlLi0k5YD2LYSv26OmYFFPjG9iO8JfiGmSqgJxU0DPTS/tXi/3j/UP67r4Rx8xy+wFD6lLnt0deVHL2n0KBoTknaOnGWFo/Zk/PwyZvP69lAX2upIacsCJwyZ8FdBAUWBjLSnnGGn1/sOvCU/rVDcetmSPAaJlWTxpcjF2PV6tRpq40S84o9SGfbIrmeu2+D+DF5Mq1dOpa2/UwUtq/dlAY6JUHPdhycXOG22KIQ3+x/iuLRbpeFWVHq9NNpjjqj0B1P7qdqb2pLb7u0bvOXwOJIyN8sGbSVtmoSljSMqoJ4I1ftcyWU1AParlyKRL6Hdk+BM6kJ+bn7LGTGHiUU0+vK9giXeKEbi0ku4bETMEa1tFvuf8eqPsKBo/MCbAT1cLbq+g38E+5XL1gi18UszfAp3tbJoFtQQ9wtM97AxdcsYA0DoiS+b4CRecGhFU0MPhpIZFqvEOS8sT3lZpAaD4QRAt0pKIRMNoVL/IoEYkLXa1FgM5oYtwMwf9mgVQehTMqz3OHEkIdFt3T2boeqRy/8ib7IPy8dbmhjx2VYxsVXGVAimwqoC/2mT8wJu+RR1N+J0FmmhRW0mb4Z3SU7njqbd5R7hajb9qVYCm9wtAboNd8gDWQxAmYmty32x7zpPxL4ZsQilbAmyd4sA1FO8S0Q641QDCMbBEWYtfgQH2DxobU6JvfIh7ZtX4A6hMGkpa9E2S8TacAZLKgF6in1t0DPfEc5NwUSe8Iuh5PzbcoRKjn+Cx2SVKMQZGiFlZcUlHqAR0JKbdG8bhzpA2/QA+CCoqWTbw/Whqa4DpAo409aFz/hSAS/2gU+HnnwZyBhFQCpiVE3Wvc2WFZh4nmkVpIRv9IeZMwiGJ9kNhXOTyyrIPXsQYWGgslva/x/No0BOJG8k0pYLjXhEVKa7rbvvb0eZoLMtbRx5850wH7xIrPYl7pUMBv4kJfmOEpaPJp/HbiIYNSFbEEQaUvpHwuYVaZt3hpmTiLlhqWsW8pL6nWQl4UqdFX3ZxnBXNJBPXeX/ilTkQ5fQYKVU0GBjseOuk+rxkRESgr8yExVj5eVf/6yEaTjiYn5bAha0p4hmN+L5CxEbR4DYqZTHOCYUy9qLG76T8Agd+13jz4CG4OdZndlevnBYccTynQ+EJIrI+QlRBxeELZQMa5cWyWc4XD6CqecGNKTKKk2CcPO37Q6jYJugh2KANc3Pe1YSUzsLX6Kf14MTvcTjEIby6mcoILnqgln0jEcy4b/9v4wqwC6cQiKGFN9HF07F2AluUzIDzGKCNiPbfmSHzyknyR5VFe6xAgSwepHv/KHpE3qatPYp+Xdo0yORypuXOufQZGcDxwIeZ5jHMJ2zSfLW7+uoyA4/jalc+B+FLZisqTIbOdauZ6k99TTSQLN7ypE49hTqEd4FxF+dy9gGDnXkPvhrpp963mjDhie2L0yVUmqShC5W7DLW8kAkULfA+WE4Z91jMHeHbF/ypvOK0sRTXqAoobkcqlxoNQZkDnKTnATf8ODr5Ja70xUufjHj92YHa+kTELk37KWTPJ1oTI1ZPL3wRRystuElCKbTsqr5krTLrQ7FTznj5tcnCX7RsnwAbUmqe3rEuo0dZqXrRc+nW+m7Z8TEx4MQrUZqaAzrEjwAT62mthiQBBjoZHv0/cmyKWY520Fi1DEdfy8nwU3qmaxnQPTB0xIj20eJy9C7YAkstLYYVeG7ZD684/Bb3+F0tqlctNLN08arnAurMLoQKwGuNyEuBz5aNKHeegnH+aijDR47P5rwfM3i3tmef0v03ydyYDqKJxa6/2qbcJk5xmveE5SGqDJR2l/OMDj9CrkK4AuvBXikKCExBbem+FPpWJdZXEqAHoJvdVPEqiWeNqMVlYkWev6/eyTBArxKCQdX0ozP9miOQRaQJY9NRYhr2EtSqHhz7iiIJHIzy/7Uuz8n8TMgd/aqL0Uz5uzOFfzMA564gV5trM+5z5jq/1qrMGJX+20ByiaYPF6309W/SA9srBQsZ/u3BxqkaxJk1aO+byTYj9I5tmlo+GvJgw0TacPmk8yEmhZzSY9phSmhj6p9pCCE6Z1ugYE/M0Oejl4u+CP1RBNoCHPMp/qURBBmvApwLmmOQLv91dZih00v70adGGvpsh9i0Fi3U+PHOepW7chAmmEQADCBwPnk6M8Ucb8cw+J5rVM+BHcO4U+H2yh9cKeEhzAgnREDDq86AJUWElJGlmIKKnoKzZYcIuRJpb+YdsA7Ex8Yi26i3Af9jpUaI0K9ZoRTKI5oeaHuwcJNLf0PLcvDCniNj+hmZeTkJRyxc8Oc4z2FkIhT5m28hshKH0ejkm4BaIixpvv92zsNieIX2Miu0K0cYVwVkhzjK76pC5x3gfOPtLVWCnQxdghe4T9oVI0MeRNeoJGkH8+cnCj8A9DyqsuozI5uq6eMKoEXN31AvmqhQs12MBeuwf+7fVS8nSs9+KQWeevYi7r/GDLvFRiULhTqMI3VoJnrGx8bPwFllPb4gShF4cgf3p5f7slthp83DtwkOTziQ1uSlbcA/Fa7vtbO18Hq3TtZwmp6DA4bbVocy6USdwxmFVwcH16nDTRpDSJ9UkcXWzHCu0m2QvwBvKZr98zw9SFFDXU59iuY5SKwtkOjNBAgTKszns1LMFQQFuPg1fec985TZTi9nf0DYEZqGKR+Wem47obo01GuTr7ViApwByoOHF6eF6sBQ8QrGbKeO3RNvNMMQMQXZOZrfDgVNiO2IEV6mzPD3FBoa9eBzRMntaDV4XlOQ9mBd4Zr5oXtGUnLTkHDCE7lNxWNJda2cccsAf/TJQ/mH0gDjQWMxXA712zw/A0qLtzfRlc5MjYfZDJT/jgh5GSivyvFjrpGq5GjjZfmY2Sdjl5q+A8LY7oeqEfqd+MCiOoBykxPskUi8s51BFvOSyy7aHWfGTtc2zU/iBxf3CEtHoop5h+jAdAOwenps4D/NFDg27yaqrNkrEed0rlnifA/R7CzVbDAHENDuFTkJ79AAzZRbh06e1AHAOZXdTFo1Z1LmnG9OawCIX2tnGZMVTcv8xsVGLbl4y7l9qoEG1zmvXttYBcMPOD4jri7uh4HJKOGGpsyD6XVcz2KdTWldQqVRPAAbHeoK/A1B6DgtmTiUDldzKI/fRurj6zIfNFyPpJHdMKNA6asn/IxegYWl3sHswZKexF4SfBsDGGmCgrkwU2lg3NFH++U8vNQo8y3eqzl5osfMfG6s3n5T9Qeao1nDArIcJU+I0AxZeHJPJHHACjfBEmI4djed/il+RwreyWrLiEp5YTwGNyeDizMjdxP4xca/PUb+69Ish9dMoRIEWYJ9LuqH16gSC6rYMN9rzjDOS/Tz9epoSVRV6R4lEtqXDlTnywFjeWJSIN7/Bks0nBZu/sAGnOeYO96o4czJHkAehcsg4EvaID8FVNHmHIKRsJfoR1kTX0Icohe0GmEduRhaRjuFrdtd5jTJmlzrz/8/2mKAbyi3XqCHgXNpw4F3mCTu4Pk0IX/WKjPxnIsAmLdEyQUwU4fNAGDpuqACHDns2n7PCa7BXwkA2GsTe1GCpsHIDMyvrrzfyZ1maJmaHkg49q8mfetgRXfNgtub0yLH9Cn7FiFxbVD5SzCFlF15PU9cS/E4QVhkmAaiZHWN9RglV71LTK56bcaUG90esWRdxDctNfVNnenV8XNZKuDzOgQrW1TzOdHjY5+AipqYXQPKuntnvyhmPt/tYZ0f2fNWviLfOfLcLtDt1D8NkB+HHSMDhVRfirpWR4QB1xHF4h4a4skWS3X621fzF9JreLaihtoY+q4C54eNvDnPmlkF3aWhcO0jLWGdn8NqLTqpuovfrk3dIrXa5gPLOqHOtx5p3f+2uLfuoVYUDtrthu4GvlPgdTaKyUIyIgT9iImsCtp2IPeFJkG45NyHHXGTJzKl/5cKfvVfHSYy34EnPlWhZAhWsZY5Qnz94XWs9JV6hdrs6DgONagYRlLlYfcYwvFw9ZN8WVStpMpElJ5MwGosi7dRh5umWsNb9lYJE74nNIXHL0b82547talOYPzVKZ1+FhgXZwRNyJmSRqkms6Qw3GdaiAdhOwc1cCiYUisdiEY7iRAQZ0lgzbi7QGSYb/Ra9csYpuHqZR4V8bxCUmatLIV2uwiuI//TMB+EZRQgcfa245GEAfQ7fGr5aj6YDDTypb1IzMZyi5CblV5v74c/Hdet3tPz7EiLav2oGT0ztm0LenYNixIF9R6n4ymdxy7iXiVIdkLMaPxPhNatyjg85FWSEP/tKcESaOEzVW68ztzNm37isjaUiVNgxdfN09Vp1lI4yVrL8FnMrp3OYCrQRbpvkYv3pSMMQIj6w3DcWIWvMuIFvP/rnnm1ElkHDrapwDE8LMAgdfqVdq6S0Jk3/H7Bi+KZCBBGXbnaFrs3n35IJRzNlOmhbTYItr8cOqOTyt6qGxle2FjlANVe8E5busDZzPx3WIRpBmO0mrAFbKV7t7Ugkvv7u9xsvH3aAHje5yPeANOWZ31jr/AnAmMY+LaqWliNmu3IwDiCyYoTZ9MKN1OiaeHk/PzO9TRaoDU+rnwXLtPRZbzaQ7peCwh6xarBlBJDQYUPAXlMJge+FfLyABcrUfENCPHI0iHFqt0vgJ1sqFR2N7jd0Ow3xo5XfjI/GqX57yL/SrorEGifkHAvZNbZvnm0NWZUMbB4+mKbIU8U5DPQmE0WdgtPtUVyFerFXCmJaoEDIduTXxJllQUW++7Yy/B81dw1eE9FMKgZkb615ADoMncu+hBXM8MnIhfE7JoIfCccyQRQ/8NzqQgHfZBLUdOYLLppQk0gp3cDgGgxzM/NtQNAq1YjfFOHpX5Vp9+CT5FfoT5tQ228FtkSBWnc7H4ZmqUHQXEzOoA0QMEK0SzyN1Lj7Quut7mjXgvJJecJhCzcWhCqhiBK+OOi9ZTJar8XBfEvI8mp0SU3BF1S/RKAtcBma7Y+3nI0NmmQ6HUSLv+RukKe6PgAsItecFabGzosoLleKDL13JneOMuweYOdN+yHApQnotsdZjUj1Hb8G6PPnS/W4EaMtNDgb56SULja1t6yryNenLAaDy3KcKXvh1wTv+IUIJje9W//j8pe0z8oFxdcZCVg3mwA/tPnTtFcJAYEGAwkhodJy7mG4lWrMPsIt1U7VnZie5E4Gd5hjJ8JVV54Co1xzaxlW9JDNvmkPati2mLVfRcbYZke4mtRX1Z17veIMk3xO6BjXYNwi9jE30Ko3zW+BMHBmoMy92PryXhg48ie/0w3dTjqWUXbrtApOtdYYUkNA8CnnOoJ+RIC0/aExbST/eu5QrTLSgLIV6RL00CPJuGTr1qUUwMsdYeZTH8MC29IBBf0Ib5jD8TLLFqCmtBY5hdWsfxJhBGLd9A8tlQtVRDiT5Pl1H2t83bMcbCQuHpgtCFPViAVN0XKCGexx250iKjeBZFt//DKdlM37rJrootDmyU6DkH2VLsP8bOqti4kjO2sUS0k3udLXo2KWzpfMPqI2hSuppw+MUKkyXvzg7T7BGO7LwdDsoAumqKlQcpOu2VGZcdfA3LHCy7byai0/CAWnEbx7ZIXlrYV/z9KRZ1K0E+Gfsw0AUJD8xc0WukS9p05Szx5E70LDf+vWyobjKP+I16chzKHVCp1fLgM5xaNp44Oimb7CKjgkktpFJ8nXoCOWY5e+QzqmjvBeqefwxuu/wslB00TTlhiYVHhH29jfxc3q2U1N3s959jLR2GhdVebmd2ahaF2yEVwtC3IY7j5AuaAszjwnBB5BIZ/kivKKZHLQ0ASrRM5YzImTxl0rMwGvv2cEcAxRMVYGJUlVZ3s5j3ueDWN0vdORzi/CuehzGPQTaMdMiDilfM/j3+HyMBLDudgZNi7Gjh8ACzpz7ulqJpBph7+vw4BRVuD3zvrBL0QyB+umFjtk+16q2PIO0+VSH8HIDTyLlML4N+vgLz4wRC5NRlJ4Xylw+Ley5WCC/kcWyxnY5z5KKtqWK4RyS57Z0liOYAmUYJECBelL0Eg5jna1IjkXJKAU9DOaFbwzkj85aCqlN4CECg1FPLiiEq4RNWbuaYS9kRJMTksV8jVeIuCWLMokWPSlLV5nzkrKfec0fecv2qPmLF8qAYBlOqd/+3JNWJe5yKAgoBu1G7Ecg/GfVARqCTGRFxumPNgffL3hgHLYJ+RvdY0w5IZlxbHe0jr5bsHq+yE9YJ27PKf4IYShWSRlXr+oDLiyAWfnDPUQepYLVLRTialT/ESmQPgz9z5mAQgXG9OMG84OtrBa2SZ8xdbqXlcyI+hyOZ0frRnA1BNsmkkhfcqLSsoffozY/WeGsC25P/aT29GX7Y42iEKpp7Dw0vRJX+SD2851CrLu3pqxvNXNdOitX6VBEWmYB9biIrGbfjdB8NN1W1hHu0h1qacqGgaSG6mZSTOeSl5zeDwF/n2+sMMUg3JgGvdisc7J5FLcUXUAcCWq/TXsqCflW9MAIE4uvtp+HO1gej1UBBfkUf33lleFoGLjX3eL5VccpoB91USvKTdUfDRsIxLL4el1G6Xdn2I9EQguynAwzc7fgv5+vpuokEcWXSQh6tfTi7KZUYWIDzm8XKQEvEmCp9Oxt9h9AW4jaYooPGpd5kG886shHPWKCkzkj1uImHBkjGx3XyVrXoY3q8G40DtJ3O4FncQWh+rHlv5GP4lzYH+1hhG8CnWMpv0+Kp+f6ZW5bWunBGqVb9qxXPLDl7Dh1F06uOZgu2yu4+aCfrgEj7M2TtpD4Z/SXTiwSgex9KTb/UhVxfCHt9dy9u/UWKe8/YkjBvJKoqEZNKSlxJVI5Z8W4RMi4+zhtG4+srDR/vyk3wRe/nZ2IVSgMOvobWMqak6bXTaShWgpMqhVJzZ9XxyvjfCHR7d8qjMlmV9ilNMWbEfxC0nfep0dhR2+ANwXuzKGReb81KS58VJdaxTDdKDzqjOjYI7RnCBvtTeAhCsRaMkLc7M33AZY2rk4FyWG/yHSQgRlqJ7u6nu5KYUDsLttUoR5h06QV1jkVW31HzHKrpH3sJPJBJN8rmhaDwHGHMHcoK0VMC0eiCtS7wLFzzTJqeo6u3GM9Np9jZnbM1Ws2Yy/L2ZsN/T6jdX0U91eRsIOk8PhSG8OYdKdESwQraKDaTMcHLAiu33k8xc88Ezqr9KK3X58Wxu6GDuI1Imxth/uW+bRmoBKbpImpmjmP3Wf8eE2Neur2NLCVOpfD85B9f7PX84Z4aK4G72s+Qc9IspoBqbRAHbpgID4Ty0Q+EbfjSp8zeX1dkrWO7RBO7wwT4VzqPb15XOF+VckSiUPyBVuMUHKu/v1YuUZQSVr3qp+CMlH4PksJZQvBndkVIm9TjjOB4D1QnmYvznvketP8RcytEwhc563ErQNT208pH5VetzNKe5mMvOqxk6xl7pQ1DimfWp5vZDp6amCI7MIorFS8iOVs4UeZBfIJX3Tsg+IhWjSU2hMMOc0BpyBpjsY0GuYVSs76tyCHGIJcSp5vZtALAN8deKRPuOJn9d96mr4PXQxRBYkakuNmag9WLRgzauVh4cjNTgIstrGzU8XuezjyncFnnCEqQEcxlT3eKLgmij0sE68uv5oHyTCxYBGp0EhJCD9EBxTxGzP6tmt7F0H7+aClH4Gs6VXXywB9HO0xDawJsXRq3ZFPEqXXxbvE1sJRSPnMjQ0Dx+wHjcib1I3duDk282+Mh05HxafAJydLDA6CjXP3VO5gegO9Gmp8IwkXdFactsplqr8TzYnb6axq55kIoa9OedzPSe4rsYSAFRuWu3BTDxzmXsxIKrgL11ZPVWSU9s2GzRVMMut4B6lvKNaovl+cXLeOxuDbkA4iJgNl92HUpshHUESI/afKqOlBRmH4qsrNg1CiHisvKGHk+tpnM5H/oB6+SU/OrLQRvATa4CVOrEB5rcmtYe9hj/+F04ZpgSlGHt4TgxEd4JLvMbxJLa/y9aFqGN6b9rjGysoYT+G07GGndNkF3g7ZS8Spb27cnwYndgXVUAPJ2tjIQODmiqL3HGfB4H7tvaYNKPXa4RlhQ6XRn7Le+LnopGvDui1XbqDTDhDCw4yO4OVnu6J4fA7JFh3eh5o3ybgi+fNR63Ni2a4vEiIBbvpfW2XGoP4cuVu8Hv+RAJ7KkFrmCk1TSSiLABeCZQM+pW9nSMbU0QaXYayqwLJT9SSsZYtZ9cwbZTogfMMsr3EkXlrO5LFgTa+1QexWBe5mpGMLd+hq7iUfXn56rSMnKCYmlWdb3j8tSLVrxumCOt6Xwtnw8hfdOayQK0djsWaE64Qn3oobGqaqEEMO86U6+vhJ9TaFYCYwHctuaVwx4nrEzMdVYVqXT0YCsghEBjczvD6/dwVYXsMFIJqSf0FsHPKzmndURkN6yNkfDRhJOwuc+vYkhnUjIvCOAfWjvgQoktEbrHAr8Wamq6/CL0PEf31bql3R8j2jgneCaYJHb/isigWM3GUrseSd+jkrt293nhVhNBpW+6lSVsvIYSaIlFgJnHORvI71ZJU3bu4I345ud5z6Y5yDxJyTccQEJa4Pd7FoNA0ncesSPGTFmVBVUHlpL1ZlWMXCiyPpy6QfizJGLwpzYUm59UKsKY13R0FrpyRc4aX+LDyb+PBE/HyUsN/ps3Qzirh3GEnvcPLkEoGM6j6umFsAHBgM0PI8RRRCRJyRtPiVIGkE7HJSd5l7YSaEPmx7C1NN/oChOIDDmIL4kLMjY05yRiICOE3JCwv1njdMNP8H0koMMY6vRCn9FHWx873Zh6+4MaL6hplgeEWmgQP8XSjCmlmu5bLFlzLaIaBhQhaveOTfTiD470wm71BVR44x7OhUWVQFUnN6TFISUcDDosCm3DosyIpzihn+PnH6VZH4Vb12KC8oht2LO7z7txqqUoe+eZp48/W1vuU/a/hOuq4UYDd0xBl6tZkTfSUuIf8CXY66i3fpvei9XeAsVaFbxZZzAGCbpTnVTOnae2dqVtSe6qWbtBdpLFekyRR9sOP2jk255IM5Fu9ib5zTYWl99gHLc2mJfSAF8J3PgVHTkvVbBYs4Al7Eyp4QwlCY1Wu7yG+gTb/r+GBQ7BKJrP5vULLbEDfJXOCcQZPdtHDsTjTlobJIlm2WSlh8OCgol5yK9VkbodRT2S1Qk2ECkNTiOLNYT69g/ZjLQ+viGUaB5QSrtLtww5vdjP2jxyv03XqrcBYZgpgTqHpMxkchcWD2MoHqKjKJ63Cb1Sq8LHFBxwH/4UimV3nbwIDHnzJYRcA5La82gRofH6cVoxBOVPbWo4xKirNHp/6CdVLeiTBgm0i0aLJt2nOL/gjctVfZl7yoACZEXXTFup8WR66+ek+mwaryxLjptyn+BdKY5zoh4ASFIfYNJeY036CX5cbJ+Ps2o1YRN5TFMD5OAVziXGpyKAiwKHEt7gv0ZTQrGRh2tJUQ3UXvFtmdHhFkNREehqzfJj5F7ruw6g+DSsywXAVMWsmjZD0o8677CAGQNr4JJAbDvg3eOqLL89TBPPaJHGMD0aA0P3336bziruDRGbutGt+pPv6FPgyw9MnG/PqNug6zZxaep6LUcGeIZPfm7EBjXjLhYTwt2KmTeIxFR7xjFlITjza08G1BLqFQxniyTFvPTSwd6gXjX8uBgQd+UGWltYbqp1WKwliwogr6UAkG5HmPa8fCtz5ep5YAxOgldJsnbp2r7A/AdO2gOORqD5tK50Uc4o/HUfk8vC71/iVLg/x8+NySPADKAysx9ihT7Zyfb/xg6k6+KKF5YcPWQxmoL8IZLm+zEKwxfLHhGqtn+C3j1cf1fbsEuFVaQghjZAnW3TfcNvLnxLPvjMrhIa64czcLIr3lG8P0x+TmoH8Rvbhg5BrEGXxiCL981pHDIXUXjmO1xxqYQ013MWoW0cOC7TcReSTuJg8QGCxoUm0ztr9LSALaIabCdvHmvLBbhO6YPKzpaInQC/wwHNXEi4fSTQ+5y5OmcG3a2NqvAnacV7soSySondFC1O8aNsox5nloxULuSUH6W2ZE4SH8Ipc5AqPdpK8Kb/Dl1OxMdnwJbCIYCuAa4f7cjl14KPQ5iFcPgHi27DXhcsPt5EDq35fYXyKpBr0ZVTk8CYwG2sjAR5aqQcnMGF6B1vpyvoB3wTuwT5omUCgnogo8GzK+Qe0UIeucpIb1Ae7l+r2dtgv/ARO7KybF/+EW0pMlbJYW+WP1FfjMvr6/NDpcWhPZ05tj9FpD/oN6oynH++zrsnii8NsEg4pUCXo8pM6mGkA2rqZ/L6PzdvRdB8AFu8MiftBjsJssHS88yWjEehFWvfHzhA8vghpajd2zR5iTEcBQADZLqORyJ59uXDe3wItOUysphtRxs+ZmYwh/x4/gLTs4oqH3Y6zex4QMYQhWewWGG8TWKAl74mDM7NIEbNxtDs/QlX/T/Yn3liPylWL95D9Xgr5gANXqiBucpfWn+6Qupa3dnHYn6+AgWEFcP6RBfzzNpb+5ClU3vz+RdFdehZjjrfTL7VJvKpRPfM41H7waUbLdb4kmvsDouSPhHBAzvAjq+trVpzCS3SexyDbFyIjd7VuD1etsQRsJmlSnD/FsaTWJACOEkANPvCEHXMgXmtvtVKI5Q804uq/h4z+3CMKCWIZGDyvBXlA8yEkDmc4aE95rQtrRdL/UBJ6ughgO+vrNSr2xw4wGhMWYykcDhb9nltlYODxpXff1WfgEG1NRk0WEgTEG6a9kOvo7owB19oAZ4YW9GDScTGmoAWRM3PxymqohGgd0kbWZSg9WdNrhQgUP2EmdMmQGGXKMdaFN59bAZ4DfU/69ChkahBWKhULJ+mjV8OVn/fMHrrRTIDSDvgp2z5CiwXrEaU36A+EeSqaUSa04403cD1jthDvvREN+mtcdiivcWZebK6dvHW0W7VC+j41/h4hjqn372aAVy0yibg5JSnESD0w77hBcDQmp7BgoutBS4D6pCChj04QdRiqO6dBnEIFMZ2SVMzBI0D4f8t7SZZAwJqlELHkhGH1C+5TT5+X08JXKjwfK5Pg6f8Vt52e2brdVCW8FvCZ4/vYD5FSMO3BASXbXTaK+W+dSgkhx8RjlHUWYBfGidIIWPLgg83QBpJ4dEptsEzHj2KbZMeS/bAt8LxNGlT1JrbfaDwgXcwdNpiewTx25jdMWqKpw3u1Zz3jq88LIsLgHIRI5COGUdeGKlv3W1cAWfpqaOj9Gh6Zfis83lMrbrGXBqEDyX6iPX+4jt2Rl9qwaH8DEB72iJJMsYGDg++zIOt2MIsYCM8gAK/LItKgffSZQBbrLiJsDRWpr+WIpJlMht30CIma5JkwBEKhAU3rCPE0MytDHLg0G9XY5ZsSgpNJv+/Nj4sB+LrtZQ6ZctHWVllujcZj31Cw45yrgwY0NU02ARkU73YDtVBmK1IG/OHbkG3Og0pjQutR5cU9W4cYAAqaIuBTZ6vcnN5/yYXVENrWxbCY+S3KHezQMqjroIjNDLqsX16G6yZx8kJOGuFMtzmxE9fyCwPg+jqAnn9PgzbukuH3FIx5Fp5JhMB3mwkrzTE0bRNVwLObpbKShhkgErQr+bty1iKSWD50REUrAYJxTuy9umzKYoRIicTHtJl7zFv9sXeQNDVzrnyc0aoxJNIXxp81aGrE7M1jE2yTs4eZKyhtgLRn8hadPeJptgD99tMK+5MURIxc6EemzFxmDv5VXIy5BmR5tfqGeWOy/MZzn/Ng6FrI3bD6D5SeSx1viSFrm6V3yEci5XJ2FmS+7id88rQPbu6LQMY/iHXyNpFDQDRqVYXLflw6Ks4uweHm5QOgivTN15zPi7qygdKoyuNSstWc4OiEcAGoV6HLfYl9o4Ocq072DbkX4ihXCUElVn/rnobx5fFfVq05w/GuZt5QbmMrsxvkb5256pZsuFlssesO0T4OPk+rKBlfkehjfcKcIBG7wfwPSp4lkv4wSTzbd4NqsWLb5ACIsmH2PzzyZVHGHKYXHwUG7wNN0oHTlqwkT6iF8RvMGPtP2JK64q8YdMj9Dj58Y4/LaFpzzhgOxOlz23Q/gEIJ/tKIABoComV6QNWhw9eFoiw1Fq2VJ0CZaGDLCDQix6Gd/oNOGE2A1tXkwPTUCJnGAI2dA/MAP8a0oMaDMOhFfy42ImJmWqFlf9N9VxaR2K8UFoCfFNAtHY0r34WEwx8KKuIWCf1loS+28PUa0DPuXGg0Q53+Sg0dPtCG003vhoor8xy3uyDxY6/LnubK76Ipk6mAdTNz4JYqqrP73kK/243h9Xf0ojvpLMXLtLnQUs+x7NriA4h2nchPGl8NdCNgjAUWOi1HJ+5DJSZSaP5rn8d35QJHTzj7Oqu5m3kLT8RFhbeimGy33IF2w0PDkq0/T2xNa5wYc8A/+sVF1Z6iMx+dhXLvoZb05HPtdDWrDAbLVLRuyjOpm2fpWWsjQz7iu994fNre8A1GwtoE4qi6cqpFVyN7gO6BN61+QpVm/8xyHmjWBLLnCaPzurSg8Dt8g7NMywdwKU0COqYbqY7rgwEJKMm09qY1eRsqxVufHpNYgRup6BEsU7Uets1wgx7l6Jp037yLKdbFeb7uiN+x2LpsGz/tee5hCEI7Iv2UCT+9oFrd1ZqX5R2xrmjOwEficLFDaqo2HqrWqgN38pvI7FV+8QeQD6Kv6Q9Yuf0q+/BoLAKPY8hILi5Wr2A917yRZh0HplO0LbnTcG+tj2kR771diO2gsafUYtRhjIaJi+Ioa8oBvi9iI0gyZsybUWjUCQao381PseT1xXXG7CE0RF07Th+vgKzjRtpQap9u0iTs9hehuxQWd0MkmZc7rwP8Sd3ctLr4QAX7s3Cug0med5EWIm1CvVMR/Hvj+40G+5M2gayGdR2N1vd446EXarORkgVJhO/d/jPjfWpBtH36pIkAKrCDpGeVFJKqfKz4GJvZeAsp9PM/2Rl5xJw3yzwQNovSocW1UsqXaZ1biJXPCwlScfQue82iEh5gTaKu2e8kssDcXp3v9Zl3LI2fq7TnA+9nRiKrupW5qKSbyYXLBwKy+jc1YDDxVZ2Cm1lbDObnMH3uX0ZAUNt78r0DGG2/hBWEbtD77QNHD3jgSV3Rblw1svX3w5dEwTx2C0JqUZS133qkN4+HCgKWhJmTfm3qbn4TDbJ104g/FERvp2RKPmwwryC4hW8TB+rdU9Wh1r9blPfQB7vdMe0ONSGG31EUo/Ky2EWd4Gl6Yqltdhar5609c53JudvKXJB6TqoSol0vvGfUWdAU/U6e3Khy0i8WxZB4niqGsHusxdjbCLj63kPG2kmArh0jOXHfVo3kRyP3HVED4LrJQ+B4cvWVmgv6IAEsP7CSRi9p3n0Y4DV1je5TrqI9twV+oguNC4Z2PiH6oEfNHu5H7duHzHwj9U4t4I8gAcmwTu/Mr0n2J6BCou83mZABJJ4wDnjqJzkSh569ViJ7oe7Wz/n9CSg/cLrJ/+QL0kPeKAqLqM0Jq0O+4ywDkQNVWgvIWZEDYTHiC/ep4YMVtn62l7xV4CG/nw+sIAoepXvpbqFLfdjuXT5rgI9U3ccpNiSSLImuG7hzcLsBlMQBtcsJuMXbSs/+V3t2Qxj4vmSFZeSa+npw2l1iffD1qlunE5MyfBsAPe3BiMtW3/XJDeV7hevx1AtWXJu1fD73vlT57XLualP3A3RDCl3Ie9l0ARQ6/d4owDpqDi5PgvWrpFSWzawqc9i4WGnGKwVxiTYepYT/QIbQb0rVd9/kobKz7GPIh9f4GwJMnC0nKy5WXjcd6SABVaPnW4/7NCVsfBKf1s3lFRTqOuyx0Uz7PmwC4vz8qSn8/fVCaiZYoKQlEmswOPahC18kdWRjnUhpfi8OSoBaaynzqWPJ7sJO2Ez566tERxDjgUWwKdKfRSXKNPuW4PyOu+DFtoz5SfRdcTWWWdjHVed9zoW3qxNlxzk3Iiu4q1TrN2uJAFtKIuZkXaHDx+Ij4cfNO870sUbHCEpIp0dzhqyQIjY+mMIwlNWOX/ZhMDyoEsf+2YQJAx/R/2MCOCel1kWqceGFwjICG7ok4ZwXJ5hoaZuDnnu/DK2rvNdYpi6Ba4QglWF8+hJI0sxl36xDTxDHd+HQrqFNsUYvNvbGsgYOx68SFp2WCIQ8kjThV29p/tJQi/cZZIKb83XftiYoEp9JV3bTdZA3fV0awKTeTZmJa389Eg9fYlan4aPZNaGJGp+kbi1nHE7M7PKzWJZwK/v9LgHKkHiLFMDFMe01ovax9DWrNHB2bFRuir3WCCXwng+dRPedbK+dbIp3NJu0V/AxQy0tlaQTnqGy3wv5AzH4kRpatFbzV3fCK8rfXyd+rSuJdLEgUejM58pFnp5/jzgBn87/2znD8FEN7nukdgCU5/H5Bxj2PPR9+5gditIJkgnQdx/aB4KYY8yhDdQnSLOKgpa0C6HlEuNsQNhnzo51y3P/igrN7+TN7nIz98b5ykqnyJGz/oavp/ucM8/dsEtKjpVB0Ppu5TE3PeKvWFkTsToJyeDMRfJgYfOEpt7mJPOB8A5WczfEnIHXGh51WEBmwBYs/OmJ/LiQUBLCNPjsV2iyq1gxDUfk95qHlkLYYKjTFl5EyXYMEUIGYan0pwzKwsB/cSxIcl7R5cMebmkfJsVED+bjlw2/lpGKIKsSreUQ184vWsi+a+cILgBrGILLF5K++MKlWDoYUDYvQ9WrhcSbYt2cccSlKi6itK3cGixQoGcDKd1A3QMoMKtKqUzvKy5S3kS3eOs/XdlfFZKHgVAqQTAwsvbXywdkyrxamKJBBK/umTYf0Y+A+Gxnpsh8ai9MCRRrtFUUOW2p+wv1UW+jDt/1a0kI7eHfCm1dqwi20gUWRuDQAVjp5DjyYtZlNckcKkAw5KjfObWoB92QXtT0b09kruAkP2gTz+Def3qQsanh2EsLyXVxFN3VKZeGIqaPnvQsRd8s8QwlpflH3UowIfJgbVmdfoX+FIn2pAuzhpQgLtbi92isqZBkkjYojvct/EbHozmP6UL+vg+d15sHKW0/BGbXooIK67EkoXWw99IOtT4IOi8P3HSM6FInMe8l+dfN1mLVcbwuT0rzftZDWa8M9ImBJBB4OJYZYM7QgGyEPvKhhEj4whi8XisNUAGbiv9oMPXPOiKg/FfnfHE7z0IfeOGFBfsP6YyVvAnluBbs/09Pz/mqA2wcdLP6D0NMTroyfxZtr0+QUvqNEIkB/X+cdjBCO3ywOvMCG9IqFegB1Yd3pioNrCIysMdkHyOf//x+pSw/eN4QaxOBbOgkkdFfhupLnHe6wJSwuJPTwPmVjNUE+42z9XF/wBk1l7k1ImwASF9uBq6TSjQXh3W1rQoUYornoffvSrx4R0ZWCIX6utMhQWur2sqd2n1FT3tCWE0rIKlVBh4VLakdRRJx1Y7txj+tMM6dvVKA0FYT5fbqrUwxhSoERkLbkuPrR8cEOqGkatdWNkKUQbhIDJftCnol1euhclv2yzM9QXqIffvfhyTxE6jCcpG3smnSXILIW7qxAcWrOYPAf897U3R9eEifzlaJ1pg5tZWhpZe/dU9bSiVOQ9xdpgRPsx/V/0TOS/DQc5OzIJmztoidvdM2MgUQ+T9lZn89nk3PLwvDKAeW+uenQg4cwM2pVoyF2OkgoOh5argBHaCN97fDk11XsZ7PLRe340VQNgzTHBT+CkJ7Ym2qsKsOLXGmIouU10zkEr5LuyOkZWX3ZVQUtbcuwo4IM/ZeZTug0C5CcY9KWUec4atrX+VMhIL+wCtyJ5knX5UVtoV0H2gr9HjOvtgAcREE6uqZjnoTWrdMgR2YRsDopI4dy+sTVrjl8OuSDf3rw9Pxu+FUDnx1IiArqybbfewPFaggWUoAMydDw0UJLUCQyL6yHG+12JptIVt4U7nu2ZicuM8xx1QMTDXeYPoLWYlHVRBvBNsL3zvPS04ms5jrYr0Kev6xQQ7M2gsbmbHBVHw/N0gQQuA3Ir/sQ152HaTzcq2g0JszA2sq9zx/ebGtm+pfMJGO2RCQM6Dfl2J5p9fI6XxDjfGdZ+bfqNWIfrdJ1ZQSSAnl36ds980/bvpWJMFtWOM2UtcXAioQ8JnlpdR8R2DFyhwdlaJvKoRHK1t2zH30YNQ1ElAPusZWKPuSfyfssq8JASzrLzMKWdUYgnsJI9AtTCpfIytrnocCTYKZQGU8BxAjKDQuJ/Iq5hVaoX6U2kCSmwjZOEeRzBLTqBLyWI7wYjYTSH8yB+obO5h1bBmiNIPVRiBn+9EkO+OA+MQto1VantX3um5Al5HXpFNza4uMwXDRrjb1aj1yKv7Zmf18jQlYExKdxCOozKHPmjqf4hqlhHid7coCcWS8srlLSLw7+RG3c7J2osA2W3c+MzgJOkc/ciRmFDSxSoG3CIgViznr902WKT640YxN1XkQqwINW7gPqXM3AQr4UD+/Hdio9GMG2vfkSF2kLQ15gAiCUOMv+3MofMtTJLzkF+LJGrhEhj+VyQ4V5Jv7bZqqxjDajbeXsZTAEBmmAmDgJZbiXruEqcN8xT++lyQj76SlO6FCd9iLu0ed7EIaZ+21goWJoZX2jW+AVHoucJgpXAmj5vS0tpwABcUnRSE3zoIpXTirH8TQkJMaH+NIesdqlssSNGB6iF+MIjlvME9ppKC9SmxfB0E8ZG9YSRzDsorao/8ZNpHutXUqhEaiIN5a1MtQaO1mvLEu33vwap0Guim4YAnF393RA+uXw75DP5pEjBy5bAVF/YTRS0Zl0qfE6PqvtGWHA0srR5rb4gDkYt0Lhs102/VJS39ODM1ReOJALdk0ShY6MPiaib7TJsBFiofCAwIT7LKDZKsP9QADodqDm/VkfOB7AhZudt/TQ0Axa8j0U3OiFaM2FE1hTw1Dqctd/MOqc3K+uyOo1Nu0tfHDjlg6Vl1dpzuSSVdIW6I/zUi5iVRGZYaGc8SYHB8C/FBQJwm3/qfMbvHsZlY7j5rgJDyBRtuZthzPM1rxKofYFjw+SIBttTCy71TdkMpKKWXtsIk7hS1GVs5rvcti6DbVCK1M3O+WZvEh7rT26nIMPzJpJCRfCdF6CNggTTodpqcQ0qrhh3PMs+L85Ck2CRZrxWtaKg/d0AUMq+0nVudLE39clwtx4aYsr33IkLVGVVaXrmtiGBKWdDDVRCSNpomDa2I8iTL/iRBm02sjvRt1FaVAZXJlOMjpeR8U3JTa91X7eEnYZb1U08FCmSrukBvo9p04Jrk3/jW0RVMxhWeKqhHrSaLuZ+mLBM0YUCM5LPwo4Ru/XnXUrxjbruhxVrKbA+wNY96L9F6WGMGMVBAumplilTc4fTKMSUo5vJ//LPWtdp2IqMAGc0BT1LsNDVx89w+/tsM6KBpGecMQ2AT+EOh9Hi/mVum3najJdbk8QPwyR2Yg+3eRhvaKItQ6brDqK8enRgfH1aRE3YN/p0pSf0Ml1lD6oL3cE5jswaZTiDu0pToaCSfnzy6Ae3qHtFpdPZi+sxlzEPBDnsLdIOYJXzlRVRXCAfTmuAd6DbJfs/MyB09D3DszmpeJ13wGojPkgZw5njI2DBle14p2rji3QYVcIqdFHzER5BhNQjkbatdwPnn1ra01huhnQbop4ohTg73suZzuJWiRP1KAr16XNhFhS8dPlI87s62vM+OEcFGeWiYXZTjXbJ6eRLVmxRac6AsfDcAuS8d/ISPBFJQTALUaWqG8ZDnWt8ESIsfZErOE8em33hAI5HhCzrXuL+dirnrJkaxf32cL8hjDmv0m4ewzR/qCEXPwPltWAOsI+AdLonEuBp0+KN6l1gVyMOr4giU4G3kv+RyhFAuiYlcJNV/ueb4QOZdwEz3/dJgnCvKxV6VdtWP36envLff56jigXxAdMhWRS+EMYU9r96MX9rW35+BBQ4I7waZLRKgLMMgc5DTYTHXykydX2Yel6wOk8StAFG4CBcZ0nk5D1SRpF+EJXnuzEfbLY91ZeUgiMtEtWsmTmjwwhZGvbxKy3bMHByaECraiMDXseAtbUaAzjmmcK00zOMXut5BQbag+C6aFSp4fBXVkzLSJrm/C3QNA+3qu45Kt8CHhlQ0EAQt398xUIvRKH1wjAMj129dS7pVq4ihg9gz1s7M0ZemvPvmf5Oyh4CFq0eEQJQCWO6Je55MrWyOpyx/MstBINPuj3ABT7QSflJl+cfUBBEWeZO8Upv8JLp1JKh/2VdfuC2fPwrDuxrU3TE0x45sjFoEBf2Nm1lKLWyS0zfV7SQsHgxtcXMnAm+jWuNkWuz/uI9Fi7uC4j2s16D+h4HsdCBRztsCOhH+6/IUZ4UvC9dghM1WNm0JcJ/TAI3lC8cCvoTtydMFMkIZwnn/5oS5Aq/EgigBcRv8WDYikPeGQkuNrMnX3SnRJUZRx1VGwSiA3uJKxiJ9Fo11isz9X847UjcOcOoDecpgcE9e84s3zeT8HsQm+Zt9FCPjB2rdoHvjzkEPwVyZIQDdHq8z4h8cAlMI+MlV2RPj7nJY1exmf2N7Fc74PFWikLqMubBfQRmd2oMY1ULtJvqxCdqZWtCGu6TCndVL1TQ3w5jF8Zldq7e555CVw9Z4RFkmFdVliLAtIInaE2fZYJ1wEMtqLZN22VUUfV0AqNGACw2L8sda/RNrHspw254Hw8H0bw0PVITiXphHiOEbUAeLbDFuI0Pn6wQiVk457XEFRpGhiBk78ubGCsqDLkzOW+q1wNnhIFZKKQhyIrGwhwx48mhDU/CCJtlU9W2S2fWu5bdmoiIPv8o2kCbdtuFhcbR9JqukCHt9HNuAvhnEnSoJiSjgM5xMvcg8P/DKAf+OrWG8Ap6AeKIev/msTz6kDvD3f/lteEuZx4SO6em8YMB+YUm1QF9ltB7RFPZhzVM8MfWMAYYOm6gPUIUDqWTVE35jGkCXaJ8wUqnyAJALEGR39IBxUbO6KWi+87n14g2/CSoTqthVTnf0Qk24m9MFZ9UzRQ1nlzd/WrNZu58fPt0//qwZjHPXfOI7dua38ybZhl4r0VX2iRceCo8WgUZ3x+WncVIL/yH6dItrKUD/cJB40uRlRGoymupEmhEkOyXCR5s9S4FhzJnNf124x7DbhgESe2CD8w8IskbYbFqBt58g5loNUFSwQZdRC5zS3G7jzitbzvUDb7Pr4sdBvVKzwnCilWsKE3E8F2IGEmDQEquzHVjo1k1mZZ1uulZuIdvEgJHiy+AkAJOZgoxhtvyE5mVG6MRe8M3sb4U9jR8hv0peKFAax8wBKk03c0SyDqpptStd7VyO0dpjHOjbHkLIzXyuvwI+fjiZ0iZYsRHZwkFscuQpEye5o3Io2xLIfPlzX3Jp6ipjrHDpR5TwnmGUDhxYvE7vtPJ48/zeO7u+TvsQ4EMXLFv8emAYOKfqnCEvQ2WW9VzzWuzlA1etGZZ5eKuVF5nci7YfCvREna+hUgxGtHOPRxoQjQutFzA5tR1rfDb9ocm1c5ZaK+Hq3up+hVclKRMfPO41pPQPVp78ZHMzUOEIMNgjMtqD/hi9V8FrWaCYIhxO4DnCvKDtEyZUaV2V9v/Ab75XdNTQZvrkp2qEO9fXMhoyz9r5e+Mrad79fehH7yvoUSsIGN/969dY5yXNJDnP5pJufl499u9cl7TL2uVwZ6BQcHirM6f8HPmSe7VIZORXhWESvuB9tYCBv3TrmQRVgvhuIAYpsaTZeishjVQ04N3PwSymYaKybivLtPDwrwYYScJDTO/lZsrmsOoXKWa1g9q+82gbiMCIW990ZEGibeJb9QUj+foeg/1BkvlgAlNEDR90sijCVeTY3al+3p1ZlN8apoIgl7iVmRBETk19/tixftzBQF0u+kFilzdgMyZTOPHGRQ7UCGriamebSTKWxDTk3GHgLYnrVY4tynILV35PyZHVVc78I+2GQgmzkyZrpFQ7ONCbG4sII29C1JDuMC3SjsqAFuCqjo+1/yrjndlz/RFreoaUl1g7x9ukU6ARIDioeL4hVmG2MaKYnidPrkiBQeB0rWyPtKNzt2AJwdAfiDeDTF/upuWqI+PK5IDUVM3bqTVcYW12c1EuJBHjDrd2/+voRm4Fut9EqJ0FpyRP78AJJTL+7rnW21xRj/8eoIVXakZFh2mfm+onlgczb12hZ3BJiMJLqg7FqaO7qIo+ynp6IbKEru/OEHcFt7UKm7fRQEnLIuLIzg70Ppg9CKdrsA8Wbvq8LYBScf4lpGhyP/DqILqbmnCx/QUZhvojRHE1NfGzYgY5icP8clbsAHHPO9bdujYFd5EmcwdKQxoSE0kuXek6AVPqfxFlkgw7uCr6teqwnaw0L1aBV421f3seBPvGiv08B9LCdAJkXJv3Pxqe3sBQCXcuYVVQ8SzYkROx/EggkttKeIlexkc33Ugew+4Ghne5caYPYu1NHPvXYOOiD+f/6FFKEKPmDEWmXshS5aUXBL46Hz7WPiVna8RfgHcznG/h6/oQurPTIILYo3TLz5wOTWSTzj3bXiXoCoGLupfqudXRusWhdp1OW2veptJbdNaS/o1QZHVqlljn0olRxmSrcdPcf2dTl0k9ccCd3mtO/EQsSMPKbaR/j4xUHZV9P3yZBwsDKoL9+md2L4rBGxZi0a7x1zrWzHV5J3xGn+WxHSnKh2edWBTlBbPNVaWIVebJLKeET3DzgmFcdPgLthx5EJvx+UHRp+SLWbP47Zp4+LWQGP4tonwx6bT5vBLFHGX/Unf+e3s8B5WlHH11xg/Up1azSbDhVHfLb6FflTsDDSdTOXFptCB1A+qogGVUn9VohSVnq+hisVR17KhTuD1cKk5E0UN9sZ3k14V4uuX+b9DvTtfXt9GYJBbuRnYTvW5w36vplFthnb/tTjrqNx3VjJsXevNTfAvWYrrGl7R5cgctrWsJWz5tqIamlehrvl+mZWLG/zCYbCSAnp3+vgJe4G/FNLcQXf8Gc4BriKfscMSTi9F28BdGkS1uk7/dVWqfDzbp0sOJw7laWIaXP+YdY2U6rkU/g05Drj7jLuwcewfqUpwfuO/WHMN6pmlMYo+P12OKa/LOmgOrMIzCyXAvg8utJZRtr/+400AT4hJcizzRkofMV29iCCNlt+3AEjAGCpgKQrcIWVYk35QG6c5LvbwHAqodFAgzC93AIXSaPbpchH6CiANVHrqHTMirmrzjLlfYjrM3P4JWa/m5k7hFtC43wWHbcxuNhkeX7rNVtNqoYIwVHU1QKD/kQ6DmKHPiBE0ZqxNfJpc/VG6wZ35jzF/V4Jf16whNFi8f+OQHztKcEIeC9W5/VDwBJJ9WsWDKVSSk2QuAm9KrJ0Jp1Z3NbLFVFNTFntHgJw7rF5s/Obxsi075L5xbjwfKMb4s0b51tIFgHGPbRlKsuxdTZpAOUqta21yrc8u3gV9F//wRzv7J5Zdo6RfQiuVOxc1ZDmh94LBHvcy6VFY1eABuOrDytmCAn6uzuXjizbffmZDrtiAz/YAKKbEZuEo6IxNYKbsesGaMiR+89egMMHUjXxwFbyRtkaffoJEAi6TxEWZVD/QI4+65ZupT/jVgK5Ttsy4HHYq22WLMf1G+kbQa9Ns60UL8b4S+hvw6+xuTaMD9JORUzrQAbnF5uldZ8kaxkGr2ZaSj4usmKmAwf5Uyq8rjFgya4NS7s/H0z7+Qy3usuIIP3Spy9+wAalkqo9g0d0ko45L1YZ/7iLxdvDcxH0W7sM33oBCArP2nldjpIM8Cq9YePrzqPsiYX76tZRs3N4cyY4/p2F/OIJK4OXBAlmDJblbbunJBahol2fsD0SMeqk9ViCgdv6yvTSdyV+YqfroY4QnuYmpJ0xMfsfDg4xY6SXI0YyOzLN/ixD81JfoQeFqFyxZV/Vmso7m3r5dBgxm9DlHj3+QMXBBih72WQ+l6e3dlhPGkKBDHxLTxIX/ICAXPlH5Zl31VOmyhvOI3BUvdqwPDC4ADoLrlgYVkycfsQR0cQkMB0nA7zOjornq7gDhEmPrE2OQ90SEJRUslpr8xyi0KrCJ7y2XLElbqEjiwUgWbiTnG9Zs3H95mBIbz6sHQe5tCn/2h1ud5WoDMDIsFGFAM0tj0RHWbpXK5Z1boPpLHypFrzAhPJurDTU0kOqC4qTOVK2p1KMBj3XEIR8I6TmjKysINPhFBmmEf5a5NcufrW5OFPpChe2JX1CprNw4q81nr/i8NzZrkRgOJ2Vq4yDoa+w7BzTL1030v75CYJWiZKJPTf9uo4sNU/q3MCAZjZxigICaU7bAza4WOUYLgr+oirMPIIVJN+rSti3jOEMWwA11VGpprWEa44G4hjI/KP879PN49JkAJlmht7e11/jQ3rmofatEg5HTkXu1VOk0ZotjZSWtvQShDsIYEpVjLU+M5MCuJT1nOz8d+NQMptye+Pu166dg03cHM8GInIahCJmYZ88eWopB5W03YEQILcD4A4dpYHkNT1zL0TetvpHqsbfRgq3QPkVavuSvL5aL9PVsEj8PviapCF5L8/vBESDfjbu/tTWrQUesuNSgKImQfWpViD0qe6WgOgA35An2Jl4RZYw6j64R5pLabd9EPIUWHatdcST1ctSyuD/bfv52nR1z7NbIscmP9b1toA4r9Sn5H7Ic2Hu3HOHUTS5AavMEqoxK05cR/54WK4TbdCC1i9HKdTfhHzqgfFclkvyXffQPT2+jJv9ryzzNWS1JpdocaIJ6p/Bkub3Kwlhtka/U1rrfH0gC2ZKFB1VBgglk3GVyb3HwVqq0EG8fEw3HbQiRzbPhv0dpGUfdSKAYIXMFcI+emhq1Aw8pDwQnEcrBv66YzzVGXBGzVXD3wy2K0yJZLW5YHr1MWy06RzH9y9bt4NOAS6XLDx2QsESk/yRO3kMgy02zJ4HurgCI9PmBPeqMkAKWu4sonUFzMyk2LOMB58D4yNnoHtEbKgZfQ0XVN3O9hibgNL0scHAIqpMffZqUqw8Groc6DUBuPu7+k6CauIeVqKaQX8GUiCvllGCjf5GdXNnOxqGW8v8QxpRV9V5aRQMviVtZjVgxAsJOx9NsUh1xMYmeXP6VlOU9UeZ/++rdCuy1WrpL6JAu8fjAdi5R1HXnkAJAGuc0y9RgcscYvY4qYjLe7tKOb7M+N1SF2WYguxsZGAW5kHaVrQzp91pyoSAu10n4fnxLTHYfHIwk9zhCgkrWSXPMGywbkS4ciI5s20OBD6uFggSfO6H5+YGYOGFpZGwilJptujnGBpAhad+bGUWObOvRzmpS4zLLr8lWfdH8htD4yYzJ6psLN0q2Z0/hfxKRqg+rE2lYXBVZqdiSg86oqBWB+KEaYfmr4MZVZm9ZXkEY9BUuT99Bpp2esNCJ2sddUPJaUKRSDv8xqnWfDwEzAyNh9nRaGIytPByGrtt8rpjT2HuC8RfWznFhzus5wW0EZ/HPgOrOw1B56JLI+DZBlnUWBTo44RliPan0R4g8K6AD7mVGHQhhLiR0pf9vsJxZe7nhOdLRjCX4id2MmUXd+3GGX65t84z7/AgDFY7WCAaONxC99rglbpJqYjddNOmadUC3770mmRgrp1HDQARKCKqXiydZkmctRRT76diO/S6KQ2iZiW4yetjylN/D9dTnrUPFSlgfr9t7ecX87TjmTURwynOSQopj4JCNNB87v2qmbjAWL/IlaRHIDh13vGa1flbAkpZEzAzERgMUBASWzPvTLbqAxXTnB33W2RMOYm3t1wT2JNiiYoxojZERRoaMSBETnXXn9sFYaykcjrbwjnsnw6vUf+94yQDN5LMSOUKvhZFwPoVVOo+xjIKNDYnG8eg0Yh1fbmYONOAuKV+W4uJRhHwu2tX5TNR0uhdaVhWlBSY15shk0/fpk2rrpJfMcQwtOfvZTI2fh3x+GRcEkvfjqVODAqmrAsDCe3/IqR5Q1/jr4TfIBGPdB6396aQU/juPN5dJ6DLNssX9xHKPh8/E3Kh73+zYfX5sVamiIeH9m1M7WhwYmiqidHp/isIsc4O8X1X1LzgHqVO39qZa3egTzF+WGmreg9exqYYYrqAsfGyeZN2OClsr9IAYWJxbfpziUkOsmoA9CmCpQlMLsYqc/3XoRtyVVo8A/3pDaKZsaBRVpN35xYmWpAIXlJtTESd7jTpPC2T05XWEnNjyv9bmBtpPBcTR/JVJGO+5n/AyaE9BSEZCYaF44mtdhO3ksJH/jkkcxiyUNqMb30GzcaBhDHpqM+yOmB2obPa/zfwXuHpxYDvcDq3vo7hkUgFQK6f4+q6ivScs5y5D3cNYFwVQgL0zIk8mkYF3knNU3nGSc+HkvH62VJJ+ZrfA9mRDDSjdKh4nZTN+AfU54YuHsBg3kxiMUI0zWXoQMWLWbnHpjzpzmtAj3ZmY9wS+E+aj1mgw6vQybXDGqy449bMr4ZyEb1jlNvamlzKV7nnZhpY84/Xf1CU37dBREjzcJovEnhwYeVN+seqFLeDaqR3oZEAI24b9JZmlTDdnyrzrIqFEeNFyaXAMCDzEJ5Ey7AH81GMWF+6au2D6BQS38ULfDNlFLma3LOJ8he7dILok3IbsYLaDkxThHQLrSr+kt7EwZEDf4jPj1ua0ysTyzZTzJT2qsUhF07pc32WlmDUSHtKMgMCtu6sHKlaUVhukDCkQPdd60eR46hKlUM7m6cTmqAotMMnHOEPYOIFKmdLtvYnNiIQ2JygI7tkJcG+sM+yff4VofI0UBSCz3sVjwwbZrCr8VqlNQcemul5Ah2QMd0k/EvycS8GnHrdlelrKsgUHlQJJoipE4HOhDDaSDIq1CYV41OLm+51K7WmbNUYoOHFtOTQA5HJ4A5NzdzppNXubJhC5T30ld5N//RNmTpJbvpOxzZBTSW0vk9R4+FSARzG5Tb+oSBcY517Hjf4dOrDlniwhoOkXzdKqLX56qZJqJQG9PBhs8Budr7LzJ54YoCfYSKJbxYPKsYMQ9TtibQhAzZi+Y3NE+gs9ViW+q9j/6OdvUMPIMcfDNk6YpnAg/23ahyIrESdlWwZqTftijv7cpZsSAkeryR1ArjZB3omjoYuUMA4lg/0I52+0ONkZFTQ1hBbTayEomRUaXCC4b4raiw/UBimaeCf20Xxd1AWAQBe/npojbxBWmUehs6srWxOJq4oTrIcH6Q0Z4NKCvdvXWTbT9x2CAaKJa7BvUxeioEdXkukd6ZsvY2itNQBJAkC7VD+NKmTy8mCJvwnR+quH/oe9jI53wAeWZzlCywlXV2ByRpGbyAgEIZV1fctXew8rmOKoOqyNJ+kVJX3F5OWOnlQqM9751KLIIEDPkxwb2HGLoHBIsqCmCUpRDilrrnEZnRMJ1o4JKJmsAmD6GZslbVJqP7xJTBKDvezvOidoWm2YtsvTPyRlL4fsznzOf3bIqNmqg4x4+KXtQrG4PkyZ5RDRcSby19Zdj3hOn2zax9Z2xtLof27tyhzMa6qjM1ogQfwIo1+X88ih18/dSjxSpS2JNStaAqfreN1oCg95y7aUdRLapQPVOltaBbzVG6e0vO7PNYf7kVFa3OUuz9tN9SsfSnCbqUWwbdPBKxsSGPXwDsFYzKVAYbNCa2gz0EYih8tbYF1f0caYnfx+Un6on39NTkVeZbhLjqadcwhXmGWOdtbHoOyvIjJYDu2nWnUl1yePV+kqThgmB9sSxDdXe9r2bgAQLfCbG/McC1zwNDni7rYRpq23tzQCeS6NS40pQARy+RsQB88mj+Ph3P3w4+Yqr8lDeAUNXzKD1+P/USB+/HPAI6Z+vB6ipx3+WuDV/TDvfj9k84fFmWvPkO8pCL4nWghiuzpzHPgqvVbiB6f3np2blxt5WIi0m/DKt9hKY8fAMd5flEprwJXk0pCtmB/HIR6jmApUAqWYpJYkNxwD4uLCQhWpMH/E2YO/I0wGinYFwzjp2zpAY/4gCpw+QrwRpzIIF2dEMkxubt+s8bS/dPeLNa/qZUQntBjTQDfqYnDVGJvsL4/gtSmbvG+wq1SZXjQBHjl6UOm2Um2weiNK8F4XEvjgeFcMvzHEWAnQ3na654a0ed4AUTZRNtnrt9emf7dVKibWk19gpT6SJrhWAMJV0hgBIsRwHieYxgDBCQUybtiXdHT/j/2G/QytWuMJQB0Rn4URNcJoQ92Dy64PaNFaVDsuOnFkH8J9tp0YudOzixdG+iQn7CMzU9NDCGQX5Nat5A2YtvAEna86+fs0BWXKEtnoCVt1qxvQv/asBLHZmuJHOgVWs6KUgrniLUdTVPCDrlkav32gXwV8ZEUIfzfnJhP4kB6qIGmxlr+2lcVrfFElsfKfVnW9xBf4Nvuz0fsXCRoclMUMTC70Mo2mcgIfSBE1CAxwFXT28ur7/j0OLOpoQ1qLNi+S826U5orgy7SvZamJ/oxSlPzW/Ay95pv2wkLp30DXRd2NPqKBN1++wFltG0O6Lc5Gm6R5vsMuec5+DCfscVU3bJ8J6FUfp6wipWq0I5pMdpRdgSIsOuaakgEe47Qiitunoqz/VOorZlN23PHZxD3FFtVhypE7yYZH6W8NIV1GskYUz4A+bViUyDC3hpNtnOq+aJFasm3FWYXc5eLfTb9M6zhUCjZBjzRK5pzaTcKP6p63hT+l6emHpfJI+5XSKDPDC7J3buzJDFzY5ZftKU3XoDgaFKjHHIGJLzis1DHZSUzaGIBcoZPP9jyRxmpQkfVs1Lp4MVxNL5e5HA75F4160H1GETqfkVD/hO1J0cjX7jfBF2nMwWfG4NUoMoA1Qe7p30k9Kx1l0A2aHb/Ex9aUQ4qMzcQpqSzATU97/LWwnndETeKOoOdyBylu/oGR4KQseSzC+PM32Qh8dS4tEyzZRiA5NfdbZFjbMrQtUzBbcBy110oJ9NcD1NmeTq58wR8rygVz5qWfGvLNQI+u3ulKzpcMrpWVCd5qonbd5yCFt7eFwsxLeqPy6wXM5jcYZYTC+zoCvMk5oHZnfwkzXVfXBvhgp5GAZqz3kJQ/6A7p01qwgZ0skFTPBA2WcmILCToaKvW171Sk9Oj6cQe3uJn6m5w8ZXcy2uXJry7Lo/+zsaYi4gO6L1NlMOwYOQM4PZXDEqtpFwmcAMQe0Eme0PAdluzsJLOWXFfiTRVH1crt8uiQHDR754ZDAeekHdHT5nFipJw6DAxRUzfj7/ZdCvcbGZNuvHapNs5+czogsbOacRtNsG7hRFROijMnSxK41/bHjNa8b+ej7pHQgBnjD/8c8pHW4pITHLdvcVjGdfQjlsRE1S+fJcsNfItiNlHouwzKyNVtKiIKTBOEi7ek6XUd2hxoMpD0gVqZkU2stDHcOakbm/X3QsfAf7ommA10cyiD2Z6BayNzHc5HJby0GYCd4vBu+9VdqgKUJw+ppXRG76hEZS1BLPCazHCoU3vCLg5CPTcFGBtwuC3Dg2R+UGrVAcbbAj2Kd5ZGsSBVVTPBYf10CJusBIO4P8ZnXnnpOnPr4TvtBG9YaJX7jN5KiOD9pC30glWXitp41nyxrEMgIHNpLNW+FylvvTqO+qHcr5xYYugT9gUwrhHdHXH8pY3exTS2rz1Osgi3tkk3F2zSFBhPbyHG3FM3hbQ6bVKiz6MoDrBI1Zq3MhO8oWIGbMPGaFHsBd9rfciCcirHya0opsgfvPlaB9QKcAV7+MuBB6lWsE9nud0ACw51xsGAvf2SH3Ns9IL12FRd952OWR3kuqKyv38gJnnJp351dBTX7Vh1ms/cfzQ6L4LehKQ9Wn+UNoP8XDcSG0H9uOt4Cg4d5iB/WCfUCXZG/m86EIHHJn8wLB4Pf8kufZzJlAjzXPN/er/CtV2Vh3RjRd6t8d9mWLXTku9sTfyT/7nbClEWGyboAsPWqHdLZDwkcEXtKevFKuePZcm/hkbadVE4eKG4TlP5xgbFrpiXWC3QtPdj/SZIHERFC2F6Cvq3Q42kYqsHfJKp9IlZSkYvdMZf7B9bt+3nmh8NauGVhp+XbmZPiplcu7w/PZa23PrzWPpezlXvYwDAZYIPcD3hDui9Lj6fSo1K1ERHeUx7Cx4vD63qOny8y32Yf+ZRN39zQzvFkzXb9d9/W2zCgg8V8PRjjfFhDEJx7/m4BfUEYrGqvReOqSoZ/LngMNrn414aM9x4Af23LMBJMCb3gv8nsxdGx5GF36lfNhEcjPDjtUiKwVzoHg8yflHoOHR+3XTeS13VECcoinRKEDfVUwatGt3F0zwXHnju8JRXoVtsZWaFNmYZhTyZvVKxhxXAJaMCYy/pfan2CuhjaIbGIbOMrnFLnUlhyesbdJHFiUww6Yjf+hPSPwXXq9Dpf0bHMreHYG+tNLDpWmXJCBn9GXgzSmBhW/8hrn89qrLHZ/XtZM0ZxLGuV6JCjhKgkZfP0aFL8/KFuRemFLCMiDuhG0/KNuAwgaBpDS2Z1r4spuXV2CAvIwHYNaAX26s2sQwn3zpI/eDSh8oCffLNX18kfexlX06xLs+nw9QJVOvNt/8Bm7PGlisr3qSxfTr5niAGRrfJZCHohSf7x8gOaTRw5KN4IUnoSFxA5LGa6HoIqc4qG5emPheqZ2P/07zE8tyQa1b7A/jcdw5UiwuYYA0I1FZiAGPiY7uzPwL4b2tHZUUSAnG1Uo0t97UXK9p3FpQO7MzCScWoPTzwa6QJyL8uccNtVo+R7eqtYAzz0lS5d38XfKqzzVqImCOEEgBxtFrkWVK2i0x2cuHcqOtaw4G1vGxed/K2rwUomyKU4Vf0w/AMjAQEvBSMNLLYhFKg29AmWvqyC9SxhU1xHzcKRwKzxnARpLEU/UydDTvwSm1fHaSovtQRFnXOnNR++C3Fz0nZIaQfbI+ekp02GJwrV7FH7LQgZ0iI2vcKnrkNmPbjpll1DvQ0skDxuug34AKOk/PffkoZlWrHbQ1r6V34RcaeTneP04VVyLDxM0d+gidyq877HA8P/5ntMho0srbYAtG4ELd9a5sitetpbsLFTvabSp67nnIvdXWJg1HZHdAzuK9cJLopVpJVDXSbhxPUQ1My1AbjXujSJSe7N5deVUItoFpBWpeKhWTQt2lXDXbi83/NniptyjGJAdK54+5Yums04/ZrwaSQ7ugLLtpA6fnqD/oTlzYltw5fBAUQulKmu8i1zHYJG7O0HwApzgJUAeFK7njmatpdMJ9V93j2DilDnPzyaXqtPkTFvv8j0uoPqtIx5VFu1TwQwd9Yyqbv7HVePM2XnqVXz8REMGzYWDCvWJw+dkTGqGGdSsepxSZNzd1pRYSRqWtWxHKXszsN6vO3OnRQXI1PIcMTUdqru12hNYITnggfkFi9CKDoIjlhW7tH4S6/8UXC9Ik9uTKIJg3EK6EzKyN+AupH8xE6TzSrlBWgoiHtn5uoLwUa4ASyQC5L0hBVYkhVcKiIYYMWKqkYIP7HkEFXrZwcty29hECsr3jzbw8InpffG2z5CwCBUyltlh+YC85Zavip7SLtyxpfWjLCDWloyi2cUTgRE2fEENyOfs9fF2aC7hh2Qph1Eqzk1WwEg8OHARgpDVow3Unt4SE/GgrGrhkXvoN6Tmb/OaGRHkRyhL5iDCGqjUdpTKGseViaWidyCwx5pDnDtF7B+onWjdCyGwCK2BUhh4ffhnOOP+h3fq5dkGUDkyO2CLDaimd8UCl3f9JcxtfYLQ9+3D+U7vSibGEgnO4pGgSx6CTbWM2cDbsD2byRK6eN49FvAVwTXHhnI5rxEuFOA165WVBOmnswclLtw7fTNHUj+oojkNAB1dQgGa1R5+jQHs+QAq6YhUG/tiiS6ixQxLAb8BlSkZAAgE4EanFpX6rVz+BWvFPBf3LlpRB0iFEaTHi3gpaq4pK+SmR1yj5PRHUUdwhLdjioRLcaH8IjJ/kHs9l7hYo7rb25qNalX7oFc1xbDPlaYFCTkGa6b3HdyaPg3vfya4jHvc9n3ZjW+qiQSpC4vl4YQGbpNdXIzmZF/v8j31WAPcSmxPzFQrlItHU9EgONOTNJZftG1TIO4kbma+O9dnxAIh52TqLxKFyoCeoK36pYYKsocEvjVklD4WUiNMK/9YElwXkUvvPYBXaD2ia0OAMpvEed2sDMF+Dae+8/R2svuIvHMLIu/LaD+aKdapPi5o+SamWUQn6EqQOSA/1N3xdJC7jTPW+kB0AOA1+EkYHv9/LpXWxdD/i9Y3vhoONasWg9J9P5eKArMP4ZYRCjOvVxB3jZJkq+wrv75LQH4kn0XHCCDX4VKJGRdMRWi+3ZJ5MLrAWWPo/Ow9CUby4sSTrp8drhDJaRZg+0ipjfB3hF2tC8xPJXB9SFPYaoxx7kOgr87y8yiFhMX1YheL3w4ymT3PULe0vqrdGhC6BjcT+ExsUJqUwKedmS6CbsAFWTetXDjpDNiysuPupoyq5udJpW2etq9XLDLNjZgRXI/WYLZjuTbh3Xc/D2RBHdZf0N/J920nLjMiXUd6lN5hMcjnSlIK6qhIJTnTWjdNAXxoSKjYVC9LGabS5jIHa88o35Pjz501P2GQzAsKvIkWhsL2hxewhC/JfG4yJ3IQcbz3sjb0LC8wWuRdaqW1Z5ElPzdaiqWDfb/RQ4DENqx1tXL5N67cLwwF2JOGqzYfzX62SfKzG92njfqs6q65xAD3Xf9bnU92SMGnfSYjHP3Ie0qlv+Kuigl+g5CQJzgingEHQJPBpi0+zIfnThkhXMOZ7yNzMMydP5TL/bxDDUu65FNGAx7XWMafHaMCH0jsnW/rmzjt84iM13+HuBpV7Q5eUhLZWd/9Ik2kfXUiMqLEFFOPR2QmdMNcE7h0SsG3V2Nk1Z8Ix5XJ2nzY33r+WrArE+W8pqHzWVB+QT84fW6D40KU5lW/lL0kU5ebM3Pn3OpjpYmEc0fXA+3t5Gjk5pS+B7ufTTPohm6Qjwh4j573GMqGQc0PPEusmLsc0n73QdxhRaCJcpVC1Op8Ut2qkgL0Y3ctfOtF+dsdBlgqbUXH5BydWZEZ1YzjayHeOWQltYV0xX4UAoycJspxJP8gBZd42SOwdMUObtGsOZOR0qLvReQKCBC/A3iAM6wPvaMzICZWWgDVpInsvOj5sCblQCAYjO8V5YqVpoej+nwjA/wKS+o/Pkgc8K2X+K0V64u32ydhyLaAu2l1kamsY4+FT3eOuX1LEA/vTo2qnPKECZcnmRiuN1dQfeH0cUPzS0LB07obrUAmzdaM0wF7BLL0cDIzGBbzZeeuO9XcHVWJxl8Y325OEh859cDbG+D3PH2x+GV7LHfx26Ys9iCmZfQgkxqkJUwjfCq7GLviDbrzZr4XMMPVdvQB37cCeTQshyIJYaaYV4mTjIa9nGQXjIrSzbXCaPOncl0JdIHsqJ/LybQE+5FZWZB8cZxHxbBDQ15mi05QYEtGBjHRB+/2IfOJU/f7MsXvWXDpve3p/dfKj3dJRI4v7znzwGGyiqx7WQhSZ3POsresDD77px0swktvEgYx4Hm8GI087aC144pKR3qf7uEJEgm5KOGNy/7JbkWdQaWWwJJwFashQwJGcDZk7Mrzv/5Zcmrsm6ofsaRu29bTm23b85sXBy9Ie6nTO15Iw0EuHVJbcFcvhwZjjvjmA4EpKqkAXBsmvZCCgRHhWF5RGndnoBDgoP+TTxdj8TdobnzJiTSAd5in1RXcMHse3WZ94/pruXb49qnH88EMAbLmtLmGvIW3+CVYnUsk3cJSTSZeY90U8GjLehN3NuBRvkBkAPdXltiyLqPaMnpYiGn/CKkQqA9ZElOyPtwzMwgUr9EYGDv7hgLXzdptLYMIr4qtOfpnpe2j+BI0RsNYlShMpF60t7TZpxzZe+lzwMbZAyQCBv9mnlBtck2lpdZPJ1hJFdqv3rvsW62bSEdVuUjfeQ0LZ5fP5to/PKj5ebWkQyz96gxp57RiXDvgk2l4Dsz4e1s16wRpvdj9C4m4/OammwYkMGxjAAyG7zsCw5Uab8ejPWwmxxxCNDcu4rcORlJiyR52bZ1nRUFkFCMwGCYU2VdJOz1/v//GaCmQeTnqNX7LWxxCZW5nWoxnY7lXoBHCrWupsoVosUENWKeGONItkU98MrbXyi1GezmOiOcyYfddCUkibBTSXRtHDZaeRStSnnm4b35kRBU4Y/4sMwD3uLcFMHfNjjJtQkbhmc41rRZKbUwkU4TzIsinXxqJ/z/xEvc4Z5CY1OwRvKkG5CEZlWk9nbbUnLj7wcddx5YQIwF1e8pJqBwECH0pkQVy5A+np8ZnpPODbMHLKlrbcU6KcdKmcdB33a/CkWNyqAr5vLprBbke4aNsjqS1AxHhwpX6q1W3GeGineN+FSf1EXPuxDHuYJCNaPKsgtpFSjo5eQwlJWG5QUewQ6KHqEwDWT/E95BGWfy8YMwZP0YRVgT5ccSNjs3gJA6WlnL/Kiyn4dGuafqY0Cg7huCXfgF78DJ1xj/jPbKtsRPIlRsP9PPgYPdU+DK1FlS54GFynUnO47PKH4TDpKS9eV5Y+YauMY05aeeurqtIw0Y4AVPDE+biIb0Z99Iv+bUOLC2KIrVhSIxrDBVizIm3/WJxLhlQeyY5P22eOxl+R2yJscHs+0evVi4/sqWZFTarQpgSu74fU+K9aToYIugP60QCujflEDN9aorPgtYinfbSEKaDgcxNBe4LJhplE9kU2X3KVKggfwkdlQHv+GjnllgQjkbpceWLBE8Hor61Kc+A9UuHKfc1tzYw7dhBouL2r1C1Y4+egIWv+QvrLv65BrTRFlJFxSxA4VKMPKg+dgzkgZe2Q1NaG9RRuk1or85A45WSQLMjBBszJkUee8yd2EwSecwg7jA1CeclNmcdHRB8CCB+zLp0zaTLzZjlEvS9qPNQcsIpc/XXMkNc1nojpolFFWxAJwMK7Zz74ABiAercT/SI2kYme94z4eCh21gVbEE30w/TJgvWTZFHKbLwUEHv9JiB3SD+86gGLHt4NKFJKeM0Z5zG+bbmPkdWo1VIazhlHpMLAxPPVmIkyedEm681TyRauLFYC6UKmW8QdhbOToVCG8NAg2qW63bC0DahDMeyXwgGLyvpV/2w3ZCaaIGbevtQO542c/CLY0Yei1iyFf7ljfgwIt77RqJJWkPZT6R6MTLZS1t9S4m/TtxZAX+WwrZVS/3f4rTS5jcO/Nc59jtCCeD2+Hgz6Nf4t3pkN378usaBWXXgdYUIJF5cFa2Cy/i6WjgfBpEfPIvjLcKEvi9t/FB6vEOU4QysH5iYkC8wHQ5/gN35hXwv9KzEDAjmnCzXhFStlKnsSqnEOSlXpSGNGh72E0NNYLqIWjPEKr9/jBqtOROrfr8Mw4o7zGrpSS+S34g89BWZWxjXzXcfoEJCl4bgBx7zNKi/T7ULjZ/kbOww9cjuYO6ubPdvKrG4w4865ddR3LxznRTBlQxhTyHqx0vzjZUtyZAWnQHlalYe3EjLRAL+VFvhEeQC7YFLqryxZUOaTbZHBwQPnGZK1S47hmPrwBek99WSItHSRkFZq7BVXvHppauBkchPcbUMnnRmFKwfmxo4NIckWHv3dYPpTzt74owm6TUJvKrGjH6Je6X3PwwUC06OdnUjETg4devtwfu/cCwUl/2O4FVmOBsumea78RpTOFF4klICt+yW/roFpxT9+7NYl91gTQfXD6KC321+we+U1J8XTPH4VQ3eXYnGOwwQd354NOBwFuvK2Dgzoe+uhT30SHxvU7oMqGiS73K4X+nTcv0qBI6q1UtzMGn05wkI0JO9506XyHElAUdxBWOcXfqSKJW/sKzRSDI29xqiWnscRMWjTdOu+1I/Fof/CaY7fjuqwO8Y9YZXxP6+P75uP92Ki6qmCnqonQ46KmXJttzWR5WfckmAQfo7LUqkhf7vrp+MJ1/TBY48D5f2Sx9lMLzqkUF+XAoVdhplk47678yIthDesU1gU7EcZvVwGJ7636rTGK8K+4Y9VCmcz7SwCE1RMzGkjXgDKFMIQXXlvVPnxItag5g2SDKr+2p91PXmX06SIzD6QTDP6I3/5FZmjlpL7Dqr+66/CtPOditwCqAQOjG76R0dv40z83m01O9g7JwdFLYR1DJA+nwYMrnrsa3mjxwnm6z1o2IG5jDj/ugA86/xxPCP/6epJhl8ofZoo46rsc0vnsT56eGDVb2TGGVSFGRzso/nGTv21fFyRccJ/+ANP2ZdvtRmuiMyaDrVknZumvMyJfbb415n5XfCON3w40sxYdYFubqsrn1573VlcUW630Cz1I2z/KVi7VPAOspRIGEMxsI1DXo+dZqktmg3zlJX6cd2IoRQsuALP1QdIIwi8AZq1z3VIdHiRXwvGjQNsFO4lNS/wZyfouBOH+ZlVLzxQLSYE0elI1BnSumPNr61w5AyflyYDNuKrC7C2Fh1168o5++Azs/Y7hMAmsqwJmO5rHsgKzaNMRgVHpb59BY62s1YNB1P22m0iiNjOrJJnvbYd45kZVqYIo9zPa/ZrOMj/+M98A1lvCBUMHJ6RFLba4+XtreKXLCyzdC1xB66eQg7vv4+SyCq+TEZyFLP4P/EIMLf/7L83cKUFApo+ZaMD13li+hD8tUAXM+O/ctxEdyVxSJCD/Rtw3sJLCWfFjG5Qbzt/9JDOGZiBuvwhNM11wJqFnTlr8hBdYwQN9ZdPuWdLpaAVp5Ca1x78tQU0qQN3ibXFiclbCsu+Xx6+9HZeJ6j8cfvnykbbg4cATbCW/4usOafNf72yj8NVzqr75hLjyYdqYcbfiUpJUw7YAjFje8k68jLpjun7XJnmAumwiKTsksFJftD+i7D3gGQnxnmRBBe3l/1OFXtFmpteKKLXJiUeR0TsCKXxxMzqSUlJhgcH7wXmHq8Uyrj7gH/VRyhAlhXEebGk+eu5Y4BZjUbvoJtANJoWXvpfmcRAhRGg8xLJburweSa193RaJDVlJpykKIPsWnCnwbpyOhbJQmOV/RCNz8F0JKYpEqtNvu9IbntiJKQzGooQENZCxVpwQFtrwWNXj81e3/eOeyOk2WSdHvjbJ4XRrn1cv7/YbrR6nqOc7TQITc6mt3LRKgQi1A9MvafdOxB9KqyLtzuVquQoOnNgNX47pEiPQdhiUfnlmrk+l/9z6f1vjgmm1ZexzWOgVilSHKRpnm1A5HRXAYell3JtoDHS4+K+LYw44Bu5nIFHMDoDnYgKlQf9DpcSNTmszZRFL6+uxC5UcNeV8w6DC5yOTlyFBVL6ZYALU3TnzYGiPbsaZfqqpMve/jrPC6wNJGoyJp6mAI9AK5kBr/j6laTarqZN4NHT0Q4XDNvj1/Yyk4UBunIb6PKNnmfIQpOQt9SydL/tdND1+GnX5/rM1N1aAVLTnSdlvmN77yD9+2vy3/jAJjkx3DYHEsvcTxm0dgiFOoZERDDC9kJf4gW7FJLV/x7PE0n7mMUztVFYxpV3kDwDTxewtiAcepyX8THrVWiLowBbxVU34jI8HpYydI8wVnAVwKtFJo+Rt+McT8sSCCxArMvSLEJM8Gc+L3YzL1NOXIXE+K3eOiWFnzX3Dn0f1JMQjgNh5UNQkbrwBCKIBxUQ7wYxj2ZBNQOzp8LDOosff3m21HSTzAjGx2SzxONp/WHigUZmNzBSKrLBeWsx7xh2/yi8+XEcsFnRIcVauR/ThADg5LMHbvG+sKF4YShoesLXnVP7q+Cym4CvaH0tjUdAMRy6pUqWQtPB3CIuFX5mR4J15vkGQBUPbMBuQluD2DPlwG42jkpf2CjD/1eKixGVOu+7S0nKLveTOY0HSyTGHsdRN5phZuRl/4qfsOifH4adyreYU/w+ORtQhorbfHRIlwfu1KFGz+lcv4fIyBUG8HErx6qa35Fb+ElugM6wKHLq0IE7kwaJz//h54ii1cwzvr5fv/aRT9xNy0l2TnA2Wu3u3DJc/RMhhp4349UgWwLFYm6EM6DQMrj2pP24yFilINgb60HMSCpolKAcFGCM2KpWijpSXnncniNDcGfIh/+JXlYi8pfJwN0TngWQDWqSj8XbFsp9HKhK77y8Drw0Vac7ubAd5FlhhzJrEUKvp6ALi3LRvmnY5oaIyd3ayEskZDybzMnZpi4dxDBmUTpWxgB1qfsW2lXdzZIwQ01dlpqUgzac5OI3btb6joOv+hUJ7RrcOOdCaEMR+WD8D13yny7DDIYfORzwT4FRDgco1U/vykmAf4cYjyP6ZyBEcd63MKuereXXRhWJO1UHaQ0rnYOY1UzXOFIvzG3+JOzVr6T/z2N+vuyTmgWnUQjTzCUhzZwzSfW0+FZhU5EmRqSl/99H2rp+GSlgRXQncWYbr33dsLpgcyR9ofHNBx9P3UeYABQvCW8MrK/2QDmtS9jstBqHIEjwTo5OlYXz2Hy3fSdehGJMu/PntJ6ZUgKf/2680/b++hwLEgnZBKxz+D1aLuKgJgh8bHU/cXyVoecaG8sxEOO2YP/4Dd2ebAC3jZwlrEXCet21UNa8ariSG95mS0M5TGuQo9F66ZF27FI+Gm1nCAbwVGWhOIukdjEFKSdTqd+2Ixhhk5Rg72M5k0EOBWgBIXevrfZLDPiUgxbdBV8dmcp6WYGjDouGCeaaVIg9DHGkxKEvxpvk6QHK579lRvAqNqzDdkYZyGS2XgoGpvTb1cfdEDLkxXoRDLbpExKzuuFQZzxjeXJ8lVh8jVhw0TVq3QJWk6GswHkPMy5TTeBU3SZTYr5ovd1TyAOfJbMAOaEUPFr+4kNoGmYUHAPhGaG6U7UXc1MzwQrCAWK0AfGB+e5SYZIvXdZ+oPz5mTRp2ylYNhjTPmuPNy1YraZfCrBOPddrblGHnwnuMVyurq4+t016UGQreI6U2jZWWfcr7SgJMT9IArh9Rda+ye9xn888iw8Foq8HCKcY0Pn3eMUPfmXc5/nrBhAa6Lqeh7oGvVaH/JLE5NtbR9+G4kdPt9S0W87GOIRxwVWNJ0dCZDGgzS+7INQKeyh4mPeylk92o4xXGWbqZ7SXGmSfNxsxZBIsI383FcrN8uPokabvw7MrjmaHBd5mxnM1ZO5T38LM3sUznkBXgjK0856/imrWtAow6DiwdfPxeTE7EiyOGqP4EQ00p2LrauQer4QfJ0NMEAzaZCKy3ZBiYW5D/FQiXx76JqjGyBd9VxQciIAaCJorjCJ1aktyWEpal7U7v0cwciuzdCkIahviOebGXHqTI9l4o45YJGrcGSDdcTIeJ0iG7lUZG7d8P66N67Ncqgh9tYzlCDBoX0nCU6bd9a+asVJbLTFtLrfJgJup2ZlC7CEXuLA/1gKPTAqpxcsexQByceBkzfE3sjGOcs5qyEJ8z41Jnrv9XHTn7JwyyodMXaU3b+pSYpszXvyFa0wrqFUYNp5hDhvgcw0fyGyFY2xou8FxfnFg9nVyj8+X4CRfoWK8VBbOtexTT4clpdZb8PCNIyOETIovzyJjNTvkGIoL0soE3KPKO5z/WmU5OtblNPd9maUDv+JO1QxxmvBTQ1LqH4iFnjaVUxO8CExqZs0oKz5LKzndBonAu1n0olqmQrOT64IFoc7vJ7IAg3JSpl0EGeyLvlywpmrFNlRRVF4oHIIZEnsvv1U3P40joN+ZqXSXzTWdheo664UKMq99bSdk2PDKCuADTW3xaJuvG1YH1eiquMb80XkNwf7CUQaT+SIx+PDnpQd+6x5V1Zb9LfDAN7aNqNgzM9NDFceGxU2o9I4hQ5NCAgas7idRvh6mjz4/X9fxtsDoseYjSde5BsxaFVrcSn96qwRKENMkQsLz5J9QpLxUiv7+J3aOVVnDmcVUV7ulfMp3OyG/GRyJQaTDMPWYy/eGTICIKe7ph4jI0pjhOz9qc4Z3rnI1ntZzeL/PBmKoE6QeLPQbIKrunVVPtr9jzvelziHbbu8Qusjuaa/1Jg3eGFxk3IYXiJ6P1H1o5yFU37SunxiKwqz3+xJTTgO1oBVjoa4HbTNMeoxMWIB8tQlVf6/f3rlIotXq01qGzo53e0tH6N0kmOskyrLBIe/YCUWU/x+HFF9Dl1uB4YB3L2igwqSOjFMCcILDkFUHiYFJx54jdjMAc+FIjXSZ8mJhxHZXl2d48VRhHAMtsve/jEuwy3h87vldyVocBs8r3ZYJomtfC/vI+q99S6FJi6T75OOjAZLV1G9M3eS9J93wXhlha/PaJsdlHzhIsrDvN7L9H8uo5XXi3iP1aRDtS8SzKg9TUN3hgYOkXi4kevaPTAuLnLCGk2Gl0qnddh5cVEC8gUMzJEAWgG1K61/6mRmB5Ij1BHOgF+urLJrJ38Bd8TUYQi0btHY7hz333iUECGATrv4RbSYAP/owPKY21rRTBALo27sD+AgHxH4tsnwJRzNKYFPm3+cBvtjao8nxU5cvvznKoWAnvjzPl5S+cjTaNMhMotwGWCFlMG/7YXsUMwahIOroHK0YjmPlDhNb9ZYc5/qQ5FAFtVE7e4Q0cnxq/MwyE1I5WswoE5XOnkUOWJv98MNx9wD8dRAsMJtH7yh4LN+0aXZL9McWjPDdir2AVxRZMNOscizNedbxhYU1O27d3a/Zk7htmrweFIKRWkDpPt0IR5UgPSywBE97X8pzb06c1gbIwy6eC41cigITb3wp5j136Bj1G7Ey1HvvnbVWMhvmxRyD4wXcbv/xI45bGdHHEKiqLoGGFkEDfQ3h5pcML/2hlv5adsdOIs/lUDHMGSLTIRwuYngULqWo11sLf+LzfTb5I6r3IYEOm8TNHVGeziSoQXyTsaRbeNyhHfDFDZhwGCO8p6A+MksCBW8tvnfLGWE+uFcf8zQjAG+RvZ3HpRN5oGWbknVYv7YtTMMYApHyJBZyDnWMLpirFj7XO9glsApZyLga/1mWEU7Y/4lbDOpKZI7ESOPODEUTuqy3Aa/tV1kPmOBwTnTwmn8KcFh95+1cGs3RqV6u2H1sA0mJxKZhWa7PwNlc0Yt+uLjiFbdFqW5U0foCWXLBHRTfPiL9D6LuRYTdxvf5So/blBkY1QUb6o75jJTZc2zQMfsldtznDDLGow/e7E/ROzumB3gWOa/nDvMia2rnI9xZCJqZ3HTWTCDGjeWQPFBMf3Eaj+6aRRxgnZtmdjl5QWmi8rQkmb9lbWY9WAoaW0V1HcGgtyv0g+ZOWVAn1QL6VuxVpT3lGCwnUhsXZkdlq26+BJW981p/K4/lUbHR1Rn5gdZp8SQatL9B8yd2kag5DN8RYmSmWYQmIIIl7YF8oShw08j5DAJBe4e87nWvMs6Xs0dQoFLQlQzdGiiDRgOTg3JlUbxtWTgVC8wPpQRlrF1JczFwwYeNrYcPrnZaQez1tK4uFgvq7o69R8LSq52ByRSW7f4YZtt9VXC7s+nLZOIf08p2ANwecxpbCnFctTVIiArmc1by/lnxtguZ+4yjTcqpPKf7fN61myKUzAPUTfrkxq+TBjYVzNWu8hPZBk3P//F9hpHHnElNsoBHanVojPtNoj5YLOXkFHd0OsVI2UkRI+4hkpB9+1hXgyFECS3KgD/OH++d8tE+tCesNsnDX1WXmcAjWlOhsjkoo8HDxzdcgYZeNaaimz1baLzC5dguGq5EOssljMq9I1/tz5YzmHrVe54Jlsv2BxfDf9Pe7fgZeHXRq7dKzzyuKWTfnzV9wVqPU9k3kVRl0KdCM+MJXwftSNtsQu9y4dZstK6+Ar2vxQTDjQWGxKxhP83yA4nVsrd14EZrYbRqUnfqSRKBNQwyAfvq8VUVtIZSU6WnM68kyp62lq00U3I1uY52sWp7KsPARzGqDyrS3YCaQO9K5i4Nek/RrXalWAml9pfVyBaASG7a3c/csxLMmiJJoclkNDfNV1gCnU/FaZByVSntT+Wip8/jfdru9S/52LELjbGlJERdqHtS32AuIAyGEdHnQH0EDKWduPrBopcYUHRb8PjGz3GxYKAdxukN/9viZtCRUYmPb4AcQ5d1dd7XLAkoG7VNjwZQ/vP/Uneltqer3Yv5WOi60wUqS69l+tbUYLyxXUq6Wrn/r5YKNEbvrcBUpjszYo94uUhL8sg8kYThBSWbIJrlKKcsndXD98RCAm1T3CrSSFnYG6+hd5b7c37UDb1uczzMnrN49XNSXGDByhrXTJbSwqupKxWA7x4uNAqY9uHh37bLp1XXYLKladxqNmDZrgPn7uYxZWaFGXWFCWUmPp1vCjn3WNZctiXIMuKxkpIYKg65ukxOXHf8orrC0sdvwxcMQWabIlaqjmLYGSo8QdySpf+yuMtfuc5dURnnaBaGidqTLEnGOsR5fx5ZPdNVQf/rFv8Xfj3gu1wgpZT6GUqJrfbEKQbYE0ZHvkfpQmlGIZ7M16Wf6KXq5CGVOJV961fPpwykc5gVxEly+oqSEiMs8wXv+uffCQlKlr9xyjdcE83UMoRnTEJ1ORFMukKx0jsptrfjByTb3YIJu5i4UFRr5vKdsSnSBYn6Ymx5CooAPpVmhorvjbKgllvYDxbG/JzZq98hFt0TW5FyzCICPYrLC8ka9jeWlMknbreKIMSzIRPlV7wT4lcEFkOrefk62/LgDWkW5CRCjj6MqMVTfGhyVMJjEuECSToezHeBsObo7jQT2YZh9n97WsRqPH82zK9y6pAhgJwp6ydEoQ+1BzYciff4yl16/+j1U8EvyioEFCy2X2t1X+bCk8jXmBudd3BuRiQh4OQ1NkHlqXzL6+DTkq9LlEYR/3T+Qh6Wtwfwr8+Z0N781nAahu5yC19iQ+MF4qO4C05aZhdTBYZhEt8yOKtzkrow2UYPaTyty37l13DL8zY4u7XGi1I4vGWSuTcq1gEs12UKz0Gr8prgd5ruzmwMvUDdtDOM98ruQ/S+Mrg/jwYOhu9q+53j2M0+pxs+gdf8PaYkGLqgx+PjAkxWsb9kLtX0q2WtMwybQ5Y2gkbVvfUnAva13PjfDUvaD1gqnBvjWHAG9bLAxNsUE46axKDgxf2rSuKUV8MOTKGRqDwZYzwvwBV410CEvWb3wEL+JmeNlnqLevm/IBrVOnXILMFGAGzXmJdcrz/4uILT5NOjqpFnNtWuUid69u7dRZlSNP55lVqw09X7EfcX+sthCHVIIUukqqKWIUcSZi+QPmsBBcIby/he1UQcKhX8GvvZDIIrkFDNCWpS1bSPvbcM42uR4HtgeGRdk43u61gO18FHmx8ey7tTyft69P2qOukfm3wcw4uWMGsTdb4uFk0Pj8m59gDQiKeao8NX80mFKvJYlen4emIUuxDDbdoaLYhWLlmdOBhuZMzJY+oqrnia3oC3jcWz70XfxkaqE9/xBIY1vwi0vNqHMw+9XhgJz06cXRVNEkWldLy3aj7WvtkWybiis+indCpRIl+XvPmR8/+5Wok0gQVIVdea6qn8lF2iy//BaNY0p4V23sjqTluNGlGsV+B8FIOoZvwHLbp8g3Swau27KTNWEqoJ2D2fea5VLfmm8EdcX5wed+k0F2bsAYnN15REYwxMsffknqEvGN1pFKWqOt/plMJRQq7xuWPeQNWGZC4Zg0SAPmX+CdE4AZ7QaiTHl17oNPBRI3+qTSVo1n1FRmSdXWQgi3dFD5fGDe8ysZAJYFjw15HqW8TLqWgBh7o0G5x6sMmAz9BATkwz49mhVf6uFLk8qeWo+nMq9Gx+dhDSy3KzL2DZKfUyWdTUk12NLGYjD7NrHw3R/NXz8fXphMHB8Wh8dtpa/7CW5agIld+1JyUKKzK+OAeKQNRy8Y2S4WZpzkIeDpevV+vzFgwahmc5p8uKCbzBX7OgLCrOcyVqZ8nvMRBH6IPfpwBSKamCZ8ia6e/D8Y69ArW/uik6z/D9MsBl7qW+0hneyGDlHwgPhcY2EvFxNRN4Iwc96+R1oGZMtpzay1WuC39WXsybz7JKAeGWP9sq++rm+CXYljxfVOoBr90jgFu51+EPU0ENKqUQDr6litGoOEYJx5p3BS6Ci2tP3pJD2ibFMQWQb1O72CM9q5w81uzIQWzL7iUoOgfKEDKkewbOGUqrBAhz6EvFIilmXi7e22t1hZvD+ZYFA7p/RVmPY/hcEa9fW7B8eIwwV2pTuElte+ahusyVG4Tc1NjzjN3Yr+BJL/BCJeYVQbrR7TKmAEqy2/1mZ8BPd6AuGFWjHgB5DqB1E3nxICxRIyAU3eRxHxPJ6gjzEC3NzvUm+L64GHZlirgkpLNtG3a2rI13rmxfkD8R13r+bgcREXZtaiUCQomxFSxQJylUhOeRVHVsK/iu8Pw73W2RF9Qz33XbrbXNVvTPu1IcdTNAO/4yH+Lu1JWwj9h7r1FboeBLZK1fVrxkgSyUASIOmAZuTa32Em58PZ17yPRfJF95nFx0elNdFOuUFDBpMAWYbxCGwQQvNu63cjlM5ere3w12fPQaAYnYJZInKhB01+UUX8vZYSziIg6qAwxprWc9JtHVGZuzk3MRjtdLG/kfEX2bp8gKkEeX9C3c8cv4mqgOAdHoULfn5ZxhPY/g9crLRQmtDpIsIVYNmy8AySwqP5OGPxyo6P9zYTvphYfCafxMPyl+IHF+7dX5hl27YhiT0vkmmiD9BV5LwAyuk3uUJ7QcFa5yVrKwAwJuaQYkfObja4upzpeDUT2HL4dFtcw8NPfIG+ouG3SiH6TAaa/nfb2IeAgxmUZcfKeEo57jwZOUyN1Ou+z04YD/wENQWgPivAIL4F+EzUL+JKylee56CT4rHx+5F3rbrgJq/FQKS9yZbmX+kScESrd9KBbWdv30aVz8eJkQu3mtASWu+T643HvXvzhBk6wevdKcbOGwR55r4U8c6F1TrG1OwNi37MstX8RGGy9hQ4nmtsUeQGLppccWeULw1OZE//dZqoA0SS358lqehvqTX49tOU9TuvU2oWc6/eismR3eQuBX3Y6Bj9Pk/RtAI+IYk5qv28AIe7C7MgZHWQnFfwKiNkuMXUYjSL7o2sIZckQsRWVrZfV6bauHfLeKru2bngGD3uOcD9l8NwDSP2teWNpcuG0FDlh9hAbUTTUtTZCPSPDdQqNJcr/Az52Xya8nQCvSNA9aOEembsIAlKvEnUiM2Nwddm8bgMC83iOOGb+4Hm7zVTKjNG+lrqYtmHQ7dSN4vXqFoZeLMkYq2Z7O+OB52OLRY9Ol4S+C8n+3X0x8dqIuP0ZLIQuuVLg7Vn0kyX0gYYsw6C3eNUm7zJc+4kKXc4ghx1dDrNHm9ezlpcRDgIeMATCyINR5T6ORIoublPbp1ZP+1dvFxRDeKHoniaFAKJum2UYI2OBp20Su/WoZdA9fa+XWgwgt3YOfRDR9xqIFues7WLGDo35DLKqhqaH640jV56JVf2+qjbES5fXRKTZgf2jYGuu0rj50NpzBJCPCu4Eo+SShuVTJxbzSZ35mbceJH5+UwvKDc2o8utgFAp4J1lNjKhla14bJKH2sDhBUFrtHyDCgyv5WgF4fVJ01B8rx0nCUyOj5Ni2sgk6dmuAm4owxzZ548HMx/oyMZTxfz1sK768F4a2up9ZIZChP7eDIxl4m8bwZ85WsFufEuHo38C7tRjhXT/rbbPyA33BAjR/gs51MahDvkG3iaNhDW3Ur1KHSPrxGL3vPSvkb7MTblXqF+54F3+G9L/PRuPUHZXWS1odXgUUgBtXOkQoWH5x5qazG9L+shgq3rC95//fc+EEXI60q44SoTBKnovPL/SlH+XhUisIYgYo+ZR3RAs8R7xUMrSiS8efGUDMow8Ab876kMWREYftka+RRmOE57dEVghjlV0TMT4JMWRO1nXk8fK6kWOpAQ0clSHDS0TPMfEN4P1RBhDAgdmJmQdJon6GP10Nr3RHbXiwvcw3MDEsDJhatiP4+3Ux335G3a3Y5WZ/QRHo3i15m8XZ31PHN42zn65LNVgFB7zEcUeXCAQcvgEQb7GyS/QiHl0hlKtu0Ti+k+oLJpLNcKE8U9mQWLD0vrom5C1gpcvZFU1oKAb9+G2m5tBW2Lm0WhQ4n/bZi8sNqBRhy/vHKm+G02P7kuN8/Ry01gC5dYgLenrxFn3Ec+r093tLzfx7ZT+EIXuCGc3CwzMzPPmPpCSUTGN6WOMwjKloZ6ZGlAXn8Eun59T1HIXP8CUYiPxKKfs4Jg4maKLAY7MV1aBLo1PEJsEnVii7n5IXLAJlA8Ewlap6pKvQPBqQ8v6vhkRZLO1eaiOGMIK40PbWggk6zjB1QLS5ECnVQF4nZOPXp/oQzirjTk+R4zm7oS+3bwlJ8gzFmJrYDC1nu9EhlCeU8HcS1NVE2MwiScFPg2JvBjo/MveyvV1vu5qupL3N8O/EiQpcLJuMVLlBN1ja3XdbbjkWPZsO6J9rRKXRNF1/CmFg4/axicuu1m7qaDawgQjZH2ia0WKyXFmnpB/eheDHkERvUdZWAM/09vHtfOujcwEwEGuKdz3w15UbrvUmL6E+CVA7SeFWO/YXoSN+oxPPl9AG9WilkGosR+cHBXUgvZq9R+XG5x0d+jv5zosEWvGzq+1A9/x7TuDcEJgUksXfOoRYGXxYKrCqobTcNO5llL8nDf7YsZROZS3RMtmgW6n8bkKDk0ik6Gl+4mB4TMsYASJUvy9iqlB7lU7v7JlE3OCQM7XkGvXIVnPqVv31xoIV/1EJCLAtf99yzYgd5tJAu74IBBPgMFzA7B1NfOWEo3Q1aFyMgwBrHvdLEOnmLme4yVUsFMHGiXB+QtukPbum/2tMIp2mCDElsKD5c/0aqT0HK8FKsMmS74UNJJhoNaWKqSsL9Ogd6JixykYlFfxPuKwphegPDrGW0VwdlF6KoHvG9cAP8OD1c8N/XicjDgDogWJdCSKmVQxsbPg51QbJZbt4j+A8dqS/w5x/2B7Il5Q7vxgexyyFowxCmGgd9SrdwIIvSxhZvEbr0SwZeOzdBaOr1lvi2ePUoPKm5688fKxLvRculwZdxDReA/gYh56wpwydVz6L72eYENsbptGM5lPdMkDONQKaJsqjC5qcxcTD8yRPW22yRv8a5E1C+nhLYnpAzeGoHLAKgE5ApCi5In2e9vJ0+PCYmQ8ylnzx+qO++PtVhp3SB5d8lH3oLfd1JBBjMBgU3fv7PtpWFyrGdHl0dvS4UFZZNofGR4t9SQRkuZV9O8HJd5k27yjnGfAMFP1brh7M63/66SHMMZ3sWOziR+cySH1FbY6aECcjYblNZqdpE/9SytI3BEEtDrLd2EFaIZQ9JL4bMtaXv+swd2ptq3MdxW2m21AW9MJUuTxPKtCEWsAmBnjuMJ7ou5AqPbfcz1YRaoMDdozjxn2xtp4mirMlWvFG+y5x1afnOr5hHWW2VMP6yntKHM0jkoBYkiOkuXvzyY/lpUKoLZbgKME0Zs1OwG7hiYNw5Lu46MDDxfLoJyUtU5CDmdTHOXHAEavdAlNgO4+WwA2t+rvzgoQm3FSAzchE4kzfoe2kEJo8z/LU15CPBHvE+m+47MdW7+6Ay/4Gb4Z+lJP+inpPmUl7yyBYeugIzXpr3VtwpGlbObWxJPtXHSFVRZvxWyD5IvgHkQYQnWdIq/Xakv8oVi0mfKmY1OZNH9a9r+fP9LfvwyuulAVlidwAz5Jkl/yJARdOdCcHcd+CtyrHtlZooEDTf2yvqsh9Rk6wvHZ2mCouzK62ISvkRvPMYsCuKFVHOjZz2rTQYHhFJQCo89Yf/N9+abgp9ercue3oVOTUnFD4rjmXqJhmDmOTmnTFLjUUzjy7pgFigqtfSNXgLJNdsEM/AmGrDzmeai1HK+VJF708XKnxGekdOQv95PSHf90/njQXWUUN4LkF7bpIj2fKJf7ZoRJEJTSXz8oQI3USfmpxQGqJ9qP8aREH1ig/6OAAD1ukOlmIw0JCcyb1S0K5yWNCFLkbC5+3XfsqycdLF8yYVeno/D16SilKf4FHWiGcxjtqsOBVY6VwS5XxcWWXvZI9r9FHABKSyoPFYeYaTtZyLExpoByfy0H33YmtDsDQM8Xvq/YdFdUTY4gfQC4Ybq+0qrm4HeGlifKYANTEkdvGwU4ngOlBBCWt3yivyvRZVsI5S+21FD3PmpKhfgCEMymVe7QU8GEpzLF5ZIPrYF8rGCHppV/FIFTXDx84X1l75JPxOrHsrtIuFl769U7ltaP9+Q/tmxhUPVpKHCvU35pfDd28lKS3a+eN86LW39TEgTrzO93szqqjn1Th89be8n9xVua4f8uVD9azYsmNwqzbCLPV9hMRemhnTQ/r3TfYYxfnSXNPZx4+CrLl29+XDq3foqYw5d2C7NRI/YpFwKn1Lni4Fz09RYBq4IXigOY3vP51LLJ//v/XdmQZyDYrQYxpM5kvoUxoifv2RKpqcdEj3VmuEPfc3qmxAPw1WP66jrAEYe21iqsA6Yr841RIvoANDjCxVFYT3oSn7UFzOOeH8tTLaDYW0U6j/hQTGMEot96nJBwuw6X5bduNDXEcEbZ3HKz8TyV3m9ZdfjxgPGC4iINgRq83tt/MuIkQmeJhFeVhZw6/iwAbwUUh5QjcTe0UEsxbHXw3tfXxjNLlShiU8adt69Yr1/OJ+/auX8/JQdr2YOCcqMcqDka/LDQ8fNjvFfbnMsVpqQoDGI5Xg8+Nm4eBgHwjMrFukrFjW74wi7nDEso5NCepLFH1Tzy9MyRjyZe0m+AM8SMBFa5THAHu/WDKmoKO4LujiwNInoegU3aTTDu5zncOPJESr1i7tQ4su+C4vtAsc6qnXJtEGCCSHEj4VtoXYS/tRZ/8qBeCtohFi3TGcOA153MMnwM7DtPNnzwz9GRCDNNAauiwUUZaEqauZOhIPNkdmrQ2g51aconAYBhi1nCflz7UR7o4rFd5VYpyaH6j2YYvuT5ol+jnUCjTkB+rHMk619uEGBnUnsUCTUjZx6N9wG46jSXLaHlzQM5gFf09BvRKZaHhe/oIs6vap+xca+Z8dbQD2ANOo0HguqW2Pd+s96No+I9svjEgFErJqOo6/ShfyPCyR66IPOqFk1ShCwLSkFPQIAhG+xB6SITr5MACugBeeoOdiZUb5yzQk6zQcesS+ti4U6i/3yDKQ+caWURI/roXkJqsQGFYYfcbkq4sFEvmKtFC1T/Tvv3d0/l/tQbfwhHqnlh1GMVjVqALSU/ap7/I+e8cg4eDK5CTPrkGKQz/IAb+VoX4BCG8GO98wIFdFaF9Ofd83dafpAlZ4v4E+dLaql2qZHea7n7ykoNrd1dp2btfKKIF+30LnICwaHRXbhNLh1QoxBhizjPvZ+cHG9QOLeIw0TJTKlmEHh5LLTeCRB0uhd/M3kTLXjEwYbHCs/eAfZg+qOZyxKTpHgVq2jNy9+BjsTfUFcemrk6gh6Yaq13XDBKGjIAP7dtAsndjRjTdObC+k+ecL9Qls47gLu9d3301MIFadh0NOsjhBq7pDCoPATSth0sR7YwXHaJ/KfodiprzY9XvlDIZ0Xmev6H+jGFH1mJBJPyP1fzJmizThO0GzwSAbo6PuKtSqU7f4YEfeXVKq/qFetyA+FhvpDG2OEPBV1a1KHFXDW8tlT9RgCzAXw6GxgSjYlPvoo8cm3TXfaa6PNeBrs0AqtvHWw6PesPm9tdGlBT975qdUKUDN2h5TK5XcM31EyiGOSa7MlCAeQbG4TeysQQ2Bolredxx/k++U61vjl5DqcPNTDH5X5Xc5FGf7tGpbWWavQtloVarFyIUc1BHcu0/snRcu7nM4It8gjmKVvqDWjzAgfTvrmUAoRxZBzpOIitQPmSB3FSZK9xKOER65I4d+aMCD+fRhEU+P7wmvpQNXQO7zWSeWPvuhC6uFgsjWqznFh+OTzl3vtCbf2yKJrDV39yOJxPtepqxqq6ajkUQvOTAxjLUbRTMcixecAuo+aCJkks71wynlvE7q72lP1YlQVCqbRn/5a9MKnsxqVyXrPVde/TwyoT3xxzIUujcqIvqYNA2WFSbwz1sKIHUx9VRachmd5XxqQ1UFZmOSrIw5jckctiMKZVFiVsVv4DbeuC34s/gYDYvEmaDhU800+1xPqBiQEBxdLlCHSrdYNi3zLHiOTyFpmJVdspcOadw3C6g+JK1KroP8VoJcMCqvFw3ENXEvWWuViIV6mo9sbFDUodGzWl7d6cI9NF8DFGZhXmyobPd8QZBThjieYtxu4PT+X0Q6pGMQQkatej32oxDwAd+hYxXV6LoXAc7kunG03WS8weI0t4zpPOkHuUJJjeNzFLBjSTy/5//fZbNf/drYQv1a0MIrthGpa4TepLGMW0jmLf+wzTpycdtKxg7m91eCk9fWk5FG7NKO7jz9HScNDj7rMMC8x+C0aCneAnFiONst3EqnNnFG1BRiAvNuCFu5lbYsk6pZU0UqZ1Usa4RD9q1lhKNdYGIN/Ib7OKVDgJ0bMo8btD1JSaYVck1YpaFuj4CfpvISW/fCpU1jW+iGMZtItzAh1c0jkSy9AU+X1e2kM9ZzQ8WfxMVUMSfr9O7RC38MrtjBZ+REytfDDtz/ceQ240d4e9fyXiabdNmKDExhmXfhB/MuUHTOD8dnncGlGsoTftnrT+9NmmqA7DI0lSlhfUYZezPnz5gLAhyPRprZrIiFTeh8yk/CJrTfj1NhhJKmVLyPOAte6BJw6/TyBavVMGvBF5TndR7c99sGyVRip7S8VxbfWjnA27SFuhV9PXrh34Qvf6p5G+VeE1uN1fKdAZF2nNSdG9entvRA87cqWwgX/kQF+eTcax0EBUlR5gUNYVo/VB92QmC2CIUcF1YIGLV+EwX6JxxPPh4XaYWyEdxneVz4eg/HfGvCqveE/IaP/XBy770lWoOwvmBn7vHdHboWbkb9Av8Ud5syaomy/GM4nuDNMjq6uaE80EhA27h/z9Ki3Kw685YiAcuq6lNKH+2jUB6XT0g08DDEXhQnpAEJY9m1rdAm/pOyqNOVvh3J2u6YkB/IXUpfc5o+VF9Bs5M+B1ypJgt7fYowJ4yjKP5gMhpPtHeN7d3YQV9B8zrFcXdwzWQtZsv1ntUtxICTp4uQTOlqC+U8zohRY/zfCj/adlg+GdhJv0Bhd+f5ImlioK4tLIpi63+NMTP0S5hAgtUHVTEy9v0GGuhddx6lTWpMVvOek3aWW0R69xlev81ww0ROxiaRvzKh6S7GnoZNCt4nY9OS0NzZWs6d28meNQzG6QI7eTM8wEaRIGOKAJjVyCnH0ITDFayjshsncga9lzclZMYFK+37JHyFrVWFFdlbTCW9zUs0vXLx7X5qHkKV8SHuc0su+pM3JVcU2SXZWHejrIabNpfk76VWgiAE4evDgxo/yLp60Sk6y5/fTmsvsiNP8DjCg9xJSUT0cUdlzdIRg5qf2/k6b8lnPhEWdOgKrWhVCUy8LLpEeVhfLs0tn0sLbLqncwRBVR2tE8AWKv7h6BdeiBEo4xeueiizzTW2U1t0h5ETZpJfqPbpwLXHA/Dt39IM7rXD80poI/didSmkUK+s9CmaCSGBJQ5QcIZ/MupN1T8YJCeJqyTjl8rQLufd2yoDQvCYpC0rsGCz/8PpMy9IvgomSzt/kh8fyhESc7ZP92Wr1uKWCPwwH8YTssDjVVVK07gSoT0qLjAt2GeVsajL1bJWZN3G5xtjj1PQnrqC6r0Pt2Zy1VeJDZ7LLbp0w2kcRu8DJqTdnCtJz1bALXIyVHoP6xLHkMXLUGQgSw8rcjJRX0UotVoDfDyeJCw+y9Atu5feZyEfKC2vZIzmTa00KhhUCgQXKDI3lV5kjALxFQHNV7W4u5aImx6+UWi1lKiQoaPwXWB6y3jwh7ORlnSEk+iiKZenHN4lKr0qm8peJKW2juQEw2NlnrQSdqiezSJ3QbXU1nh9yWQ6WhYKFPFwhjl6kdAvtdB0ElC0+0Itrn94nHhxp6S645sUwCUzXgNthoesPpMHjtcK6jMfVjf2efoisEoNyH6+pavCopUVkDI4xr4CqtklZqEg+xCt3wt8jsGIP1wS5TPGuq1RoN53neTzKDNSgrR65F+nWCsBZ9GMpaqerhb86F8MJqXQxvlqMOX/+XkxgDUVdOpPAq7otXG1pTxoxxLNUKY5n/mTPrQX1UQpyAzJDpUNQl5/Z0auj6twu6slWeyYttRGhF1XAatUTMp8j1Y3BhsFZs1FU9AIlJ30hTlj/1KQNYFnzTL3b6hZpM+qE99UkF9bl+u2G1VfYWMKekb3KirchyeGTKAeyo196tWTzeWtLgzy+0Ouf0I1p+U10/ZLorPlFV+h4XdJ8p0F+QoZrtaJ3/eUnPcWfsaZYtvgxHwODKDF3Cd9RhL634DsUEWD4XHP8Hy8MKNbyXzL8s4gyXhQ2PZpWOtp/CEFfPjtnAbeG8T/uSl+3rnqTczLQAOBEqkorHnHKrq+8ZGwIW4Bwc/IWmiPk6t2xlKHqpoAWXoKcrilbqfj/j3Y1d68udkmNKlQiFKPF3510GC2GQpPrCOnyKk//7VsVauw9XNZDf2Xuk+E7+5blkQLUNj7rSFd8RjUamZ1O0OqxKIY8yRCKpyy7za3cV4QwJ4YCKtL2WQNjUpB+5EZ5AP6kuAXt8IRy1YkzQg7QWiNssC9/h99ImPBcRo9+6HByNFI2oPKyjyF3z1raQdprYO1pmTJMQwBnfEU5wleEa2T2Rnz2ENPAfnDR/ld69uoFfjUL+1tJ+nAyKc9RsRxCpc9C1nrQua2EPryqeRBwc0TCPiCc9Tldu4Q0hzsaElOKqqmWeiwOyZCvt+J41+/h7coo73lJU+tO1lbmFRg3wY/WlgSF128qh2U5upsTKPWMhXzDJdMniYYjCHFB3GbRSt8kNpiwEgBihpInDicJOCN09S2FsKzCLgcm0x/OSFsPfRn0IJ0R1/gDllFhvXjw5qcygshGpql3IWnEXG/eSE9+3CI+mVkQKm7QgAcNeHc8Y46qsoqQ7VQGxCqoawNbjEOr/GupV2hz2Hca2NraU8j6i4TRUlB4quMv1YQ/SyQqL4qN+iqxv4pSm1TY3XXJs3cMqwCDz1QpK+yUJYIHcIn354CQDBXBNruqcSot5p7RD1ftGCzthqWQb1vrysG8dMktTjpv9rtyKEKhMuzMr+qL3M2/I/usp8zmDqXYrVK5oAgYU4Yl+UQMgNKagCs4oa0ShucAXWsoVEoAoNhG9WybP5qS66aDpqYZiRY4sPaWWEedC4ZRDbEjx5sxX63pR7ejEApFufxfOhJQQK8HjrGEDDHKlyjf9M0Q9cgLhMp9HwqOF97NqFDmcPHLG/llL6sSl+eb4iRJeU/IstdgRf9H0aQmn/hnvm/TJ74CGxa8f7JsbikClw3YG8Db+g6p6+WT9TgonRvOBodvPbm4MWQtpNCqitGglEc0+cpa6XaJ6tszCeq1SAlYbh25qA99dnNIxXaYyBWqbXi1Zf3+TSQutTg9H6kprdM2Dry+f+ZeGUx+c7Oj/tVyPqhIJm6ycitt47TM/HWMz856bGif5lLGvu3Pt54/FX4/esaNrlalpKC4xBlh0mFzUKQVmApxKNVWl2HC/M6Ouyk9XdYaEkoVdW16U/Ea1Z3yeZff1i/MM2krLvIVhBgFOnen4Vi/KJlhvSF1tB9aoDUAfDSdyssf67YRZUGiNBHmzePrAsdaAGIXAZTaupo/yIx2OVY9jSM4gG/Cwhnhim9gAci9OgTo9LOl7FZ//Dwj5QI9ppHDGyEQeP6wYB21L13319s7QQPxOS4IKNVM5qSvJwi/Ru72tyQWdVG4e88I3CvY5V3eW/hTezjXaqvk7UG2S2K+AHHUxLvZQDNbit9WhFLcTlg6FPgPtX9+hD6sBQZ/Fiv8iukkFUAt4B8dS90cnAiqKTM0P7TVEHCT/Mx98iq7PmeRqLboALFizM6hjbbgZ+1i9Gi4bFu2TLwCL4PhQupwOZanMkOiJPajBI+/rxBsERAYhTHnLUSLIgBv31mKy7ZxHFXfnZ4ZajtLAb7QdG+An49H4/shXz29xPzEhaoxGL4St1T1WkOKeyLykGWkZZVVi/Ry8ZswKUWnsytjhUzjMSldoYtMffzupiAVFtR1gyzzzuKwAM6cCcB2lPSXxkrFCsAqxNlw+L35l/XryXjUUimusjY6XXcGy89Bw5NG608ggv59gXXwJbJwddga+CYKdAkqyhxtQamfVQd5Jw037EQkJwX2BLNyUWDn3MM6O62tLukBBP+xSbh7NNri7G9dzqQiDp1sp3dDgfPfMCb8oR1IDs4zSOuWebE37DbqGIPS4DGjalE9KCgwIlfqFbg+0JnIPzavn6gdohIA5AyxRCRegg/A0fE6uyEgN1dauBZK01S8QX51QzKHWfYlXksWn8ALHTheqbTGJWWWcTqFqLm7AXMLdfRaaIyYgdS7Wd0Y8sRXqHuWNvZUZWPH2N/kISTNizk6YLaFv3d/e5Wmlnr5/9dNjhRAZCqdSDVdFwJ3yTH/lIQn02a/P1ij1l1mPSOoI3veagtrwqXKxFMwsAvkAaE/gN/5a04idpDig9IGGcHKOa2ON+w05Q1tzCvpoMehsSyHiPi0GLkjBf93ycyapDbuN7ii9HBklGnCrTyqJz99le9uUx5vgW7bZkeAToaHM/E0Q3tF9yLMYeoODg66E6jvcm9MNIBsjXqHxPJlvjRp4arprqhukOcLAbX36VNZUr/QC7nuHdpEESg+Yf9uqVnN11D/5dTKGfoj4n49XUVgJK3KKBAwWzitxMSPY7BB+0XWU1EErKTl5cO/zbOGjuPS4kwmpNmwzLnhWjogsHaKcOzWSrDa5BuFT1pxlWvY7rI/E0lu/Cjz48/oAwRzU/17Ib7TT0DhHJGwKRGogxJOlqWQ+vRRBL9WOwbMxDAkvqiDkyloL3g0rteAlh1+bP3Tljw5/C6r+bAm6Q+bXu/wq8nVIojce3Dc1y+22dl35QjU2eg4v2Zce9uW+P55Ez8W1UQd7GdosnYoYMxzsnhzb9DRVVxvStiTm7JAe9z2GEJ9KJJZkUbApk4cdc81lvGmWmlaRdVl5x5INllxKmChUUQnKoUfbBvaXV+VOuogFUql9gvaBa+zR1+mutKq9h9I+xDLX2tbhGM+KmAaCUWDFFpIwsqGPb+XkC3E37MCsWWClggVxaofz10Fq50QiaOCJsPr6qAwl402DTNfXF9PnJ/Vu4ZhMwXPKCrpnNPyoalYDzWsqpRrZ4EL0yb655lNnhVT5WQABGbsPbxzzPoRZ1zMqcwHAQP3FwGmybMH8+5Hnzh71KbVlt+RhRljZtjRUXmkS9ac5/bAJ85ApYoGlMqt6HeSOyDM+0QG3eYmUvRLm0T8+VisVYRWt0NXkIJdcxX1S819BLwLMduSX3xN0PxJJBI8Tz0420ueKSmzQqd8BYXovEzVD+zWoz5Jqev1Ovh7oktpi3wQMtlfX+YvkTgElYF0E8VX6DXreor+pXNdxYqjOK4DbbhsqHR1bo7WoaKNQ12YwS+Bw3mtuu5B+piQYBd2kAQJ6ZBd6jQOin28WMkU18alApsvxz83aoOHteh2ttsmNdoNa9WwjxEPfqkx/+HHbAq4e1KCMfJfoSRz8MvCRoba2wQo/17EF4uwDp5+nowjREZlrzAL9NC7pXI3xukR6LACVmPnHL+ZXAG/nXMR5QHIAqHOuQiKuTonztJMYFf3VWC93kiYJGt7IyAEAXaC8yv/VmCkyiu9Ok/CrkJ7jrsbIwisG/3raiGdEh7tSnvB6hsSBtUWhr7x2/mYgXVjJnjn7UDrbP2BUdGf594Au7lGarCnzYPnFrEUITzFVzNz/Abk8cL+F+FNpkw6KtvndvSm6WO/t0yl1nPyO8V9df/UdoaoY7jA9ipi+X0bDFmP30+28fWuUHburu6Yu55H+RY+OznBFCaSpQ20b5fdILp0JNub0c2LzdWIfuSxT2YcCRswW9M2mVqyNnZ5G8BEG2DX5tDdDUSbVUNhnFxIxkoRbsvTcXyKt4HpqubVcPLvNx8uqE0mYRFS5HJDLCdFvGHfGlY3hnFZv70ESYgDmFxsxQuSuuHAIbBFnMnDr8+BJgLZyu3NtwpQgemWN1CsEgK/78HAhHCjDlpIdudeRtc8qEOSU0WeL+D3hgcejwMJgkVmSKFMPUIsSOxcFbLjoYR5kusZPKKjFLzFvUtM8xR4eS+9Iyg5ovcEYZlUSSy2SmtKA1UilCh21SVUusNwa4/9bs4lxk40GRG+dIOGDL4kowNVZYRR5RojhfpjTOWs2h9Nsg0dgjOPtoLDji9WcimTUy08h9rKBeutJwByQwUJu9bVvjto0itVkBQi4J2B+WLxfvTkk7lFKewDUbFRWNk8MTym4vbI6Zb7Un5Gix3lq08H6Lh9MF4Oifv+06CPyx4SVL3VtLza9vQS9Tvmki8UyQaThWmvcIgoMh+mgpkXEPhjSmn5K67ZYYsW7pXK1Z8O2Pj+veahPtjntqiHkzDWSsEgmsuzAmGu4TdvZLYCr5U4oRL6bVCaaw3Fw4B4g7oiW4BveYsMRzRktFGdy9JKtzVVb7Na9M4YODNd01n6GilR1xniop5gAkySg+P0mQwOWWvNSsyqzs5keA0TeMxDgIkxiPc8ENx29rzAzWhz4e3SqYXoxDzBSTLcN8Zp42MofAPh0y2R+SrZltsgfe0+4LDAChGI0bprwUh0ELhyYm+UUZdxN1W2cmXEnuF6miIE9Qs6HQXAMA83u5A8LpbFxb9Dj5ltjk4keQOvCri8iRkhX1KJZvQcBZ3SfiLp1smtOiv0lUaEwq8plor6U1H/h1/AHu8Xw5bKkh6Taytzemyb8ceYKr1XQ2npaCdul/NQtcZkg6osgABfHOXGkiC0OPLiY+Iw4gwBlNMsar3m2HOXhAqbYB4FXkIWpmavGJ6/60xTIuTUEydNQ5iS9BWMc9Ya/wh1QCfCT22Km23DK9WhzXilcNh5jvwsioC7wGgdtvtGgiRm7q29G6JGaNt0lyu+ZEjLF9AtPGpHv8SXRsckw1rDc0fXYxvxG+6c8DDpXhPFTMXz7QFXA4sDfmZ85wEv8b57Ki9agDijKQs72FEO8w3BiIng8WazHhNf15vW0Yvi9R6BX5BMFqI/gytwDeSggU7GtpdwuyRimuQyQ6VKPCb8Oochnm4u1HPIZp18CFBhSqP4865LlHAo2If7x214cR5YGiHPYO5OmLWgXNFNLD6dwfnPIPWzlh5dT/hflEDwkgiCIok+F7qLmzCvwK1TUCT9f0vlrAFxs5sITVopWndTptaQtFqb3LBEdJr4/Y/pSGWioWS5pxRxr4JdKZqd/ZYyi16Zs2Fi5yK3gZ9pdRjjgI0KSwAxpPY/9te74h8MGV0ZwB8/mKy7WC9hUOqaME5ixLpNQdR63ZI4qrleYFRAY7NWmHkIQpS+F1n1PTGxndVrRZKFO/NXBQaQyyW7Fd9oVsNqv+aEcndXGjkjmuyqeIQVLl+E2VYhBpggKFFT+9lBGA8EH1yH0zWOCu8ysklkYZEnR5I9eJzKrnIesJJyBAaU8jgfHClN3JqSAfRFbGGgx08UY2M8BGxj1TXfWPCwII1gNYnLF5rQUZObtNxUtCV1F5PJAGeRqz9Wcu5Cz+KmF6ii0GX4I5gsA8kirCH/kXgdBR+ogV9mttEt6uZCZ4Ts8nPsG69cUBVH4WzbxBpgp3O4nXy+2k2JEaoLXIeGQLAsDFJviHr3zEmyUM5WODcjwTSN1fRCFVGHkaD+EOtzws1AAhticvKEacd8g46m3qhEKWMnhjSnYaH2cF/lfxc1JkJ1MGRVSwW08+4ADjxtqavr7EzY63KE9NxqcZU7tKx4IzgFSrM80/TJ8qPVmGzve5JVGdRI8W6iBFMe9aluE+dvBP6ruJyO4dVVkIJoL/JVg4EgKLBxVof7vEU/WB2UXwY1zHJxk437AAdXCvPscJCVe8lKwo7IX8vefHywlh/V5S0xBYqkkSfDxD0RuFo3WaFo4e8pLLt+ym1lXL6kJ7ALtoYz7IeQBjVleGgdWkTKwfvOxguuNwbqhb0E3711O7f9jTgYXS3EyY6p8Ul2E7kzYy/1iZLgphwDoZIRXgVw9ayeB/mWBRxaeBNLK2EHLEPVSjSWtfVV6ekYAi5h3fzBUw+1DZV8PWsY76H7nnMWrYJK/Y6NKrIPBNphrgiQ9/FlGTk6raUbqnXV3lZ1skeLQFFWZv+NmhYFP5fBNZlORlghEVP71ZPZ4iWsIQ+B8W+OZ8lSUl4pUbDXN/199ZWTB/lqbgN2Wg15JFHXvU6HqieP0yGoF6m5bg/heuPUj9KIpuNX2VZxNr+WrV6+YwO0kuQyqHK5VMjPeVdXfaDib+79TxQ0hIgCLhgeOMYJEMk57APpTj062XiFMicz6ue1SaLQpJ44ZBZK1iN7NW2vy1yZSSmf2tkArx6MR+chl3NGED5/oM+iXFMFO2HfUeu3jLJapRTahOx9Oh5J/k7w4BQxBN8rma4Y3OyddVmCmKxuNHOiJtPfvrvc1yU9UJk3mThwA1bGkBDj16sA79UAPPynRR6bo0KBURrAwgMpE5SFdpLS83j5bjVd7/Dab1a3sxE8k6BFQ8UU/Wn4ureAcdzywV3ffD4QhtE43qnuMwDV7hy1oI2XdcnjK5bxRlm2Jz8N5NxNsX+TCUG4HI7rYeH98Li/GT2L/59FfMhce3VzLAX2KcGHOOLimBQWkjrjEUl4YduhZL/0OBR58uyxavy5+yZyTaHSZ0gcAEh7ZbV2FnXbifIZy2c3P8vlJ2ZPtnjrZ2Cci2/t9EEXRrAQKdzTIjVCH2ONHL0H8nJxRYx3SzB7keLzJxpVxW//rAZbtamBL7Gb7Tq1sghsMDvHWLWw6AgRwRt7BaJXtrkW+y5BA1VtudaHPMH61LZxd+zbiYoczrFVe9RyOXfXZQ1GLgsN8xYEV1I07bhnE/ZUdDRJVjh6j0fJpV3J79g8IU2ObSBjRdNrn50l9qloL94U6qorCvYX3hF8tqu4wiEZedqPxuEntpK2e3BAMlr0vyqa6/Wn/3K42JLFl8Zar+Yv/HvXApLQMvljQhD5GPpO6r65R5SfV0QdB4D1OavKyJPTb1tjjrAgT4/USjxU6QHzCV0INf7ZMOi0jrHDKM78tb5Pt4y//8NTnTWTaAXH0pYIKfAd+tqzGmndXwCLpZWWgUI0SBzA8i7DZk+XXh/HOwANwJytb8EafjouLSPwMhuSig4deHLL9HWlE6HQ29Cwj1enD6BDorr8u15yHxoQWlFLgVCqJBQHyI7eGbLw2N957EWsCyjE+tDvm6bHezKHgO1VjSTu289+fsSKQxgAwRicYLYhQBxvi2D7ZytyujdaDyRBJANuuWy56CuWK5Y2qr1iBh3ptVuMompZVLj/oiW17QpajeqOdkdi/bh+I3Mq4+E5TTjMNgpCWFyFPoJJKz73Jqs+VShgY0XJFLmidy7MeRbzDr7BDV07Fevt5tdyn4SZQ1YZOtKJo1cnaFwNIUHD5wBI7FxnbTjHTLwgaruqo0i5RvWhgP5hdcaBbDYiWHwwYb7QodEkx127N37VCftv/bRJnszKx30DK1q2vjxn1poa8K+qe6jw5tgAL7hurtx7+gqiS+Xd4Iaf5RoDILPaWjbqXltVd3/TfHaljHFBQ0w9ewlhNfJgXFPhcmtb9dy1JoNuaPYrbs1hxfRYVkHgfXeJaB51Dun1pICPY4ifhvlx/VOgAeE2fe3Fx0aIJb+pqHIJyYc9e+nUsW4RcP70gJp/5UqBLPg1xhTi++ihcYx2yPn0p2fAelXYsDW1l8+T45pduFRCwlQgruFEKJZKQrSb5LgbApU8qPS5JHc1ZJ7y5HILmCNLogZIYpM6Zm8Dz7O/Hs7gFjmob0tXcUgffoVeB78LCNVnYAZ+8nmYc6ThzKlQuK25e1hwT6y/t1pnl47d8I1fVjKoSGjOvaJeaw7YYdNra9Ij69coMFjUfvto=" title="Mekko Graphics Chart">
            <a:extLst>
              <a:ext uri="{FF2B5EF4-FFF2-40B4-BE49-F238E27FC236}">
                <a16:creationId xmlns:a16="http://schemas.microsoft.com/office/drawing/2014/main" id="{8F6ADEF4-C7AA-4D95-890E-BA7A4E4FE309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29771" y="1262313"/>
            <a:ext cx="7815385" cy="4947139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1" name="btfpIconLines155624">
            <a:extLst>
              <a:ext uri="{FF2B5EF4-FFF2-40B4-BE49-F238E27FC236}">
                <a16:creationId xmlns:a16="http://schemas.microsoft.com/office/drawing/2014/main" id="{4D583247-56D4-47E3-B406-4557B05DB13B}"/>
              </a:ext>
            </a:extLst>
          </p:cNvPr>
          <p:cNvPicPr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4963" y="1262313"/>
            <a:ext cx="391380" cy="391380"/>
          </a:xfrm>
          <a:prstGeom prst="rect">
            <a:avLst/>
          </a:prstGeom>
        </p:spPr>
      </p:pic>
      <p:graphicFrame>
        <p:nvGraphicFramePr>
          <p:cNvPr id="27" name="btfpTable918629">
            <a:extLst>
              <a:ext uri="{FF2B5EF4-FFF2-40B4-BE49-F238E27FC236}">
                <a16:creationId xmlns:a16="http://schemas.microsoft.com/office/drawing/2014/main" id="{0F43A30D-F12B-4292-BDC6-CD0B8E12D6FF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55719427"/>
              </p:ext>
            </p:extLst>
          </p:nvPr>
        </p:nvGraphicFramePr>
        <p:xfrm>
          <a:off x="8346831" y="1283881"/>
          <a:ext cx="3510207" cy="4030443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452068">
                  <a:extLst>
                    <a:ext uri="{9D8B030D-6E8A-4147-A177-3AD203B41FA5}">
                      <a16:colId xmlns:a16="http://schemas.microsoft.com/office/drawing/2014/main" val="3437401870"/>
                    </a:ext>
                  </a:extLst>
                </a:gridCol>
                <a:gridCol w="658887">
                  <a:extLst>
                    <a:ext uri="{9D8B030D-6E8A-4147-A177-3AD203B41FA5}">
                      <a16:colId xmlns:a16="http://schemas.microsoft.com/office/drawing/2014/main" val="2323998410"/>
                    </a:ext>
                  </a:extLst>
                </a:gridCol>
                <a:gridCol w="669427">
                  <a:extLst>
                    <a:ext uri="{9D8B030D-6E8A-4147-A177-3AD203B41FA5}">
                      <a16:colId xmlns:a16="http://schemas.microsoft.com/office/drawing/2014/main" val="3097408861"/>
                    </a:ext>
                  </a:extLst>
                </a:gridCol>
                <a:gridCol w="729825">
                  <a:extLst>
                    <a:ext uri="{9D8B030D-6E8A-4147-A177-3AD203B41FA5}">
                      <a16:colId xmlns:a16="http://schemas.microsoft.com/office/drawing/2014/main" val="3245611016"/>
                    </a:ext>
                  </a:extLst>
                </a:gridCol>
              </a:tblGrid>
              <a:tr h="625413"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0"/>
                        </a:spcBef>
                        <a:buFontTx/>
                        <a:buNone/>
                      </a:pPr>
                      <a:endParaRPr lang="en-US" sz="1050">
                        <a:latin typeface="+mj-lt"/>
                      </a:endParaRPr>
                    </a:p>
                  </a:txBody>
                  <a:tcPr marL="18090" marR="1809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spcBef>
                          <a:spcPts val="600"/>
                        </a:spcBef>
                        <a:buNone/>
                      </a:pPr>
                      <a:r>
                        <a:rPr lang="en-US" sz="1000" b="1" kern="1200">
                          <a:solidFill>
                            <a:schemeClr val="accent3"/>
                          </a:solidFill>
                          <a:latin typeface="+mj-lt"/>
                          <a:ea typeface="+mn-ea"/>
                          <a:cs typeface="+mn-cs"/>
                        </a:rPr>
                        <a:t>Avg. </a:t>
                      </a:r>
                    </a:p>
                    <a:p>
                      <a:pPr marL="0" indent="0" algn="ctr" fontAlgn="b">
                        <a:spcBef>
                          <a:spcPts val="600"/>
                        </a:spcBef>
                        <a:buNone/>
                      </a:pPr>
                      <a:r>
                        <a:rPr lang="en-US" sz="1000" b="1" kern="1200">
                          <a:solidFill>
                            <a:schemeClr val="accent3"/>
                          </a:solidFill>
                          <a:latin typeface="+mj-lt"/>
                          <a:ea typeface="+mn-ea"/>
                          <a:cs typeface="+mn-cs"/>
                        </a:rPr>
                        <a:t>2019-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spcBef>
                          <a:spcPts val="600"/>
                        </a:spcBef>
                        <a:buNone/>
                      </a:pPr>
                      <a:r>
                        <a:rPr lang="en-US" sz="1000" b="1" kern="1200">
                          <a:solidFill>
                            <a:schemeClr val="accent3"/>
                          </a:solidFill>
                          <a:latin typeface="+mj-lt"/>
                          <a:ea typeface="+mn-ea"/>
                          <a:cs typeface="+mn-cs"/>
                        </a:rPr>
                        <a:t>Avg. </a:t>
                      </a:r>
                    </a:p>
                    <a:p>
                      <a:pPr marL="0" indent="0" algn="ctr" fontAlgn="b">
                        <a:spcBef>
                          <a:spcPts val="600"/>
                        </a:spcBef>
                        <a:buNone/>
                      </a:pPr>
                      <a:r>
                        <a:rPr lang="en-US" sz="1000" b="1" kern="1200">
                          <a:solidFill>
                            <a:schemeClr val="accent3"/>
                          </a:solidFill>
                          <a:latin typeface="+mj-lt"/>
                          <a:ea typeface="+mn-ea"/>
                          <a:cs typeface="+mn-cs"/>
                        </a:rPr>
                        <a:t>2022-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1000" b="1" kern="1200">
                          <a:solidFill>
                            <a:schemeClr val="accent3"/>
                          </a:solidFill>
                          <a:latin typeface="+mj-lt"/>
                          <a:ea typeface="+mn-ea"/>
                          <a:cs typeface="+mn-cs"/>
                        </a:rPr>
                        <a:t>Pts. change in avg. rating</a:t>
                      </a:r>
                    </a:p>
                  </a:txBody>
                  <a:tcPr marL="18090" marR="18090" anchor="ctr"/>
                </a:tc>
                <a:extLst>
                  <a:ext uri="{0D108BD9-81ED-4DB2-BD59-A6C34878D82A}">
                    <a16:rowId xmlns:a16="http://schemas.microsoft.com/office/drawing/2014/main" val="2373840073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eer 1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0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21451193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eer 3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8240898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eer 4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52767664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eer 2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5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85052071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eer 5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1121749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eer 7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1187563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eer 6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93088008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Target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36729398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eer 8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82510520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eer 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972430312"/>
                  </a:ext>
                </a:extLst>
              </a:tr>
            </a:tbl>
          </a:graphicData>
        </a:graphic>
      </p:graphicFrame>
      <p:grpSp>
        <p:nvGrpSpPr>
          <p:cNvPr id="17" name="btfpColumnHeaderBox618669">
            <a:extLst>
              <a:ext uri="{FF2B5EF4-FFF2-40B4-BE49-F238E27FC236}">
                <a16:creationId xmlns:a16="http://schemas.microsoft.com/office/drawing/2014/main" id="{5622AA0E-3EF2-FD95-A3E5-2078D1EB51EC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30200" y="3715518"/>
            <a:ext cx="7822703" cy="245137"/>
            <a:chOff x="330200" y="1343860"/>
            <a:chExt cx="11531600" cy="245137"/>
          </a:xfrm>
        </p:grpSpPr>
        <p:sp>
          <p:nvSpPr>
            <p:cNvPr id="13" name="btfpColumnHeaderBoxText618669">
              <a:extLst>
                <a:ext uri="{FF2B5EF4-FFF2-40B4-BE49-F238E27FC236}">
                  <a16:creationId xmlns:a16="http://schemas.microsoft.com/office/drawing/2014/main" id="{94FBEED2-85DE-B29F-7CA3-8FE7C7E57B91}"/>
                </a:ext>
              </a:extLst>
            </p:cNvPr>
            <p:cNvSpPr txBox="1"/>
            <p:nvPr/>
          </p:nvSpPr>
          <p:spPr bwMode="gray">
            <a:xfrm>
              <a:off x="330200" y="1343860"/>
              <a:ext cx="11531600" cy="23209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umber of ratings</a:t>
              </a:r>
            </a:p>
          </p:txBody>
        </p:sp>
        <p:cxnSp>
          <p:nvCxnSpPr>
            <p:cNvPr id="14" name="btfpColumnHeaderBoxLine618669">
              <a:extLst>
                <a:ext uri="{FF2B5EF4-FFF2-40B4-BE49-F238E27FC236}">
                  <a16:creationId xmlns:a16="http://schemas.microsoft.com/office/drawing/2014/main" id="{D4F8B340-C761-DFBE-F13A-A14EDD1E1240}"/>
                </a:ext>
              </a:extLst>
            </p:cNvPr>
            <p:cNvCxnSpPr/>
            <p:nvPr/>
          </p:nvCxnSpPr>
          <p:spPr bwMode="gray">
            <a:xfrm>
              <a:off x="330200" y="1588997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btfpRunningAgenda1Level238016">
            <a:extLst>
              <a:ext uri="{FF2B5EF4-FFF2-40B4-BE49-F238E27FC236}">
                <a16:creationId xmlns:a16="http://schemas.microsoft.com/office/drawing/2014/main" id="{241B80A5-728F-8E4E-B764-4F4EA569B2C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0" y="944429"/>
            <a:ext cx="3650258" cy="257442"/>
            <a:chOff x="0" y="876300"/>
            <a:chExt cx="3650258" cy="257442"/>
          </a:xfrm>
        </p:grpSpPr>
        <p:sp>
          <p:nvSpPr>
            <p:cNvPr id="29" name="btfpRunningAgenda1LevelBarLeft238016">
              <a:extLst>
                <a:ext uri="{FF2B5EF4-FFF2-40B4-BE49-F238E27FC236}">
                  <a16:creationId xmlns:a16="http://schemas.microsoft.com/office/drawing/2014/main" id="{5F9A47C8-4B63-5CDC-9DFD-915D8FB4DE6D}"/>
                </a:ext>
              </a:extLst>
            </p:cNvPr>
            <p:cNvSpPr/>
            <p:nvPr/>
          </p:nvSpPr>
          <p:spPr bwMode="gray">
            <a:xfrm>
              <a:off x="0" y="876300"/>
              <a:ext cx="3650258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532691 w 1532691"/>
                <a:gd name="connsiteY0" fmla="*/ 0 h 257442"/>
                <a:gd name="connsiteX1" fmla="*/ 1224695 w 1532691"/>
                <a:gd name="connsiteY1" fmla="*/ 257442 h 257442"/>
                <a:gd name="connsiteX2" fmla="*/ 0 w 1532691"/>
                <a:gd name="connsiteY2" fmla="*/ 257442 h 257442"/>
                <a:gd name="connsiteX3" fmla="*/ 0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0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0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0 w 1532691"/>
                <a:gd name="connsiteY3" fmla="*/ 0 h 257442"/>
                <a:gd name="connsiteX0" fmla="*/ 1718639 w 1718639"/>
                <a:gd name="connsiteY0" fmla="*/ 0 h 257442"/>
                <a:gd name="connsiteX1" fmla="*/ 1477970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878939 w 1878939"/>
                <a:gd name="connsiteY0" fmla="*/ 0 h 257442"/>
                <a:gd name="connsiteX1" fmla="*/ 1663918 w 1878939"/>
                <a:gd name="connsiteY1" fmla="*/ 257442 h 257442"/>
                <a:gd name="connsiteX2" fmla="*/ 0 w 1878939"/>
                <a:gd name="connsiteY2" fmla="*/ 257442 h 257442"/>
                <a:gd name="connsiteX3" fmla="*/ 0 w 1878939"/>
                <a:gd name="connsiteY3" fmla="*/ 0 h 257442"/>
                <a:gd name="connsiteX0" fmla="*/ 1878939 w 1878939"/>
                <a:gd name="connsiteY0" fmla="*/ 0 h 257442"/>
                <a:gd name="connsiteX1" fmla="*/ 1824218 w 1878939"/>
                <a:gd name="connsiteY1" fmla="*/ 257442 h 257442"/>
                <a:gd name="connsiteX2" fmla="*/ 0 w 1878939"/>
                <a:gd name="connsiteY2" fmla="*/ 257442 h 257442"/>
                <a:gd name="connsiteX3" fmla="*/ 0 w 1878939"/>
                <a:gd name="connsiteY3" fmla="*/ 0 h 257442"/>
                <a:gd name="connsiteX0" fmla="*/ 1878939 w 1878939"/>
                <a:gd name="connsiteY0" fmla="*/ 0 h 257442"/>
                <a:gd name="connsiteX1" fmla="*/ 1824218 w 1878939"/>
                <a:gd name="connsiteY1" fmla="*/ 257442 h 257442"/>
                <a:gd name="connsiteX2" fmla="*/ 0 w 1878939"/>
                <a:gd name="connsiteY2" fmla="*/ 257442 h 257442"/>
                <a:gd name="connsiteX3" fmla="*/ 0 w 1878939"/>
                <a:gd name="connsiteY3" fmla="*/ 0 h 257442"/>
                <a:gd name="connsiteX0" fmla="*/ 1878939 w 1878939"/>
                <a:gd name="connsiteY0" fmla="*/ 0 h 257442"/>
                <a:gd name="connsiteX1" fmla="*/ 1824218 w 1878939"/>
                <a:gd name="connsiteY1" fmla="*/ 257442 h 257442"/>
                <a:gd name="connsiteX2" fmla="*/ 0 w 1878939"/>
                <a:gd name="connsiteY2" fmla="*/ 257442 h 257442"/>
                <a:gd name="connsiteX3" fmla="*/ 0 w 1878939"/>
                <a:gd name="connsiteY3" fmla="*/ 0 h 257442"/>
                <a:gd name="connsiteX0" fmla="*/ 1718639 w 1824218"/>
                <a:gd name="connsiteY0" fmla="*/ 0 h 257442"/>
                <a:gd name="connsiteX1" fmla="*/ 1824218 w 1824218"/>
                <a:gd name="connsiteY1" fmla="*/ 257442 h 257442"/>
                <a:gd name="connsiteX2" fmla="*/ 0 w 1824218"/>
                <a:gd name="connsiteY2" fmla="*/ 257442 h 257442"/>
                <a:gd name="connsiteX3" fmla="*/ 0 w 1824218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1 w 1718639"/>
                <a:gd name="connsiteY2" fmla="*/ 257442 h 257442"/>
                <a:gd name="connsiteX3" fmla="*/ 0 w 1718639"/>
                <a:gd name="connsiteY3" fmla="*/ 0 h 257442"/>
                <a:gd name="connsiteX0" fmla="*/ 1718638 w 1718638"/>
                <a:gd name="connsiteY0" fmla="*/ 0 h 257442"/>
                <a:gd name="connsiteX1" fmla="*/ 1663917 w 1718638"/>
                <a:gd name="connsiteY1" fmla="*/ 257442 h 257442"/>
                <a:gd name="connsiteX2" fmla="*/ 0 w 1718638"/>
                <a:gd name="connsiteY2" fmla="*/ 257442 h 257442"/>
                <a:gd name="connsiteX3" fmla="*/ 0 w 1718638"/>
                <a:gd name="connsiteY3" fmla="*/ 0 h 257442"/>
                <a:gd name="connsiteX0" fmla="*/ 1532690 w 1663917"/>
                <a:gd name="connsiteY0" fmla="*/ 0 h 257442"/>
                <a:gd name="connsiteX1" fmla="*/ 1663917 w 1663917"/>
                <a:gd name="connsiteY1" fmla="*/ 257442 h 257442"/>
                <a:gd name="connsiteX2" fmla="*/ 0 w 1663917"/>
                <a:gd name="connsiteY2" fmla="*/ 257442 h 257442"/>
                <a:gd name="connsiteX3" fmla="*/ 0 w 1663917"/>
                <a:gd name="connsiteY3" fmla="*/ 0 h 257442"/>
                <a:gd name="connsiteX0" fmla="*/ 1532690 w 1532690"/>
                <a:gd name="connsiteY0" fmla="*/ 0 h 257442"/>
                <a:gd name="connsiteX1" fmla="*/ 1477970 w 1532690"/>
                <a:gd name="connsiteY1" fmla="*/ 257442 h 257442"/>
                <a:gd name="connsiteX2" fmla="*/ 0 w 1532690"/>
                <a:gd name="connsiteY2" fmla="*/ 257442 h 257442"/>
                <a:gd name="connsiteX3" fmla="*/ 0 w 1532690"/>
                <a:gd name="connsiteY3" fmla="*/ 0 h 257442"/>
                <a:gd name="connsiteX0" fmla="*/ 1532690 w 1532690"/>
                <a:gd name="connsiteY0" fmla="*/ 0 h 257442"/>
                <a:gd name="connsiteX1" fmla="*/ 1477970 w 1532690"/>
                <a:gd name="connsiteY1" fmla="*/ 257442 h 257442"/>
                <a:gd name="connsiteX2" fmla="*/ 0 w 1532690"/>
                <a:gd name="connsiteY2" fmla="*/ 257442 h 257442"/>
                <a:gd name="connsiteX3" fmla="*/ 0 w 1532690"/>
                <a:gd name="connsiteY3" fmla="*/ 0 h 257442"/>
                <a:gd name="connsiteX0" fmla="*/ 1532690 w 1532690"/>
                <a:gd name="connsiteY0" fmla="*/ 0 h 257442"/>
                <a:gd name="connsiteX1" fmla="*/ 1477970 w 1532690"/>
                <a:gd name="connsiteY1" fmla="*/ 257442 h 257442"/>
                <a:gd name="connsiteX2" fmla="*/ 0 w 1532690"/>
                <a:gd name="connsiteY2" fmla="*/ 257442 h 257442"/>
                <a:gd name="connsiteX3" fmla="*/ 0 w 1532690"/>
                <a:gd name="connsiteY3" fmla="*/ 0 h 257442"/>
                <a:gd name="connsiteX0" fmla="*/ 1431702 w 1477970"/>
                <a:gd name="connsiteY0" fmla="*/ 0 h 257442"/>
                <a:gd name="connsiteX1" fmla="*/ 1477970 w 1477970"/>
                <a:gd name="connsiteY1" fmla="*/ 257442 h 257442"/>
                <a:gd name="connsiteX2" fmla="*/ 0 w 1477970"/>
                <a:gd name="connsiteY2" fmla="*/ 257442 h 257442"/>
                <a:gd name="connsiteX3" fmla="*/ 0 w 1477970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718639 w 1718639"/>
                <a:gd name="connsiteY0" fmla="*/ 0 h 257442"/>
                <a:gd name="connsiteX1" fmla="*/ 1376981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878939 w 1878939"/>
                <a:gd name="connsiteY0" fmla="*/ 0 h 257442"/>
                <a:gd name="connsiteX1" fmla="*/ 1663918 w 1878939"/>
                <a:gd name="connsiteY1" fmla="*/ 257442 h 257442"/>
                <a:gd name="connsiteX2" fmla="*/ 0 w 1878939"/>
                <a:gd name="connsiteY2" fmla="*/ 257442 h 257442"/>
                <a:gd name="connsiteX3" fmla="*/ 0 w 1878939"/>
                <a:gd name="connsiteY3" fmla="*/ 0 h 257442"/>
                <a:gd name="connsiteX0" fmla="*/ 1878939 w 1878939"/>
                <a:gd name="connsiteY0" fmla="*/ 0 h 257442"/>
                <a:gd name="connsiteX1" fmla="*/ 1824218 w 1878939"/>
                <a:gd name="connsiteY1" fmla="*/ 257442 h 257442"/>
                <a:gd name="connsiteX2" fmla="*/ 0 w 1878939"/>
                <a:gd name="connsiteY2" fmla="*/ 257442 h 257442"/>
                <a:gd name="connsiteX3" fmla="*/ 0 w 1878939"/>
                <a:gd name="connsiteY3" fmla="*/ 0 h 257442"/>
                <a:gd name="connsiteX0" fmla="*/ 1878939 w 1878939"/>
                <a:gd name="connsiteY0" fmla="*/ 0 h 257442"/>
                <a:gd name="connsiteX1" fmla="*/ 1824218 w 1878939"/>
                <a:gd name="connsiteY1" fmla="*/ 257442 h 257442"/>
                <a:gd name="connsiteX2" fmla="*/ 0 w 1878939"/>
                <a:gd name="connsiteY2" fmla="*/ 257442 h 257442"/>
                <a:gd name="connsiteX3" fmla="*/ 0 w 1878939"/>
                <a:gd name="connsiteY3" fmla="*/ 0 h 257442"/>
                <a:gd name="connsiteX0" fmla="*/ 1878939 w 1878939"/>
                <a:gd name="connsiteY0" fmla="*/ 0 h 257442"/>
                <a:gd name="connsiteX1" fmla="*/ 1824218 w 1878939"/>
                <a:gd name="connsiteY1" fmla="*/ 257442 h 257442"/>
                <a:gd name="connsiteX2" fmla="*/ 0 w 1878939"/>
                <a:gd name="connsiteY2" fmla="*/ 257442 h 257442"/>
                <a:gd name="connsiteX3" fmla="*/ 0 w 1878939"/>
                <a:gd name="connsiteY3" fmla="*/ 0 h 257442"/>
                <a:gd name="connsiteX0" fmla="*/ 1718639 w 1824218"/>
                <a:gd name="connsiteY0" fmla="*/ 0 h 257442"/>
                <a:gd name="connsiteX1" fmla="*/ 1824218 w 1824218"/>
                <a:gd name="connsiteY1" fmla="*/ 257442 h 257442"/>
                <a:gd name="connsiteX2" fmla="*/ 0 w 1824218"/>
                <a:gd name="connsiteY2" fmla="*/ 257442 h 257442"/>
                <a:gd name="connsiteX3" fmla="*/ 0 w 1824218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1 w 1718639"/>
                <a:gd name="connsiteY2" fmla="*/ 257442 h 257442"/>
                <a:gd name="connsiteX3" fmla="*/ 0 w 1718639"/>
                <a:gd name="connsiteY3" fmla="*/ 0 h 257442"/>
                <a:gd name="connsiteX0" fmla="*/ 1718638 w 1718638"/>
                <a:gd name="connsiteY0" fmla="*/ 0 h 257442"/>
                <a:gd name="connsiteX1" fmla="*/ 1663917 w 1718638"/>
                <a:gd name="connsiteY1" fmla="*/ 257442 h 257442"/>
                <a:gd name="connsiteX2" fmla="*/ 0 w 1718638"/>
                <a:gd name="connsiteY2" fmla="*/ 257442 h 257442"/>
                <a:gd name="connsiteX3" fmla="*/ 0 w 1718638"/>
                <a:gd name="connsiteY3" fmla="*/ 0 h 257442"/>
                <a:gd name="connsiteX0" fmla="*/ 1532690 w 1663917"/>
                <a:gd name="connsiteY0" fmla="*/ 0 h 257442"/>
                <a:gd name="connsiteX1" fmla="*/ 1663917 w 1663917"/>
                <a:gd name="connsiteY1" fmla="*/ 257442 h 257442"/>
                <a:gd name="connsiteX2" fmla="*/ 0 w 1663917"/>
                <a:gd name="connsiteY2" fmla="*/ 257442 h 257442"/>
                <a:gd name="connsiteX3" fmla="*/ 0 w 1663917"/>
                <a:gd name="connsiteY3" fmla="*/ 0 h 257442"/>
                <a:gd name="connsiteX0" fmla="*/ 1532690 w 1532690"/>
                <a:gd name="connsiteY0" fmla="*/ 0 h 257442"/>
                <a:gd name="connsiteX1" fmla="*/ 1477970 w 1532690"/>
                <a:gd name="connsiteY1" fmla="*/ 257442 h 257442"/>
                <a:gd name="connsiteX2" fmla="*/ 0 w 1532690"/>
                <a:gd name="connsiteY2" fmla="*/ 257442 h 257442"/>
                <a:gd name="connsiteX3" fmla="*/ 0 w 1532690"/>
                <a:gd name="connsiteY3" fmla="*/ 0 h 257442"/>
                <a:gd name="connsiteX0" fmla="*/ 1532690 w 1532690"/>
                <a:gd name="connsiteY0" fmla="*/ 0 h 257442"/>
                <a:gd name="connsiteX1" fmla="*/ 1477970 w 1532690"/>
                <a:gd name="connsiteY1" fmla="*/ 257442 h 257442"/>
                <a:gd name="connsiteX2" fmla="*/ 0 w 1532690"/>
                <a:gd name="connsiteY2" fmla="*/ 257442 h 257442"/>
                <a:gd name="connsiteX3" fmla="*/ 0 w 1532690"/>
                <a:gd name="connsiteY3" fmla="*/ 0 h 257442"/>
                <a:gd name="connsiteX0" fmla="*/ 1532690 w 1532690"/>
                <a:gd name="connsiteY0" fmla="*/ 0 h 257442"/>
                <a:gd name="connsiteX1" fmla="*/ 1477970 w 1532690"/>
                <a:gd name="connsiteY1" fmla="*/ 257442 h 257442"/>
                <a:gd name="connsiteX2" fmla="*/ 0 w 1532690"/>
                <a:gd name="connsiteY2" fmla="*/ 257442 h 257442"/>
                <a:gd name="connsiteX3" fmla="*/ 0 w 1532690"/>
                <a:gd name="connsiteY3" fmla="*/ 0 h 257442"/>
                <a:gd name="connsiteX0" fmla="*/ 1431702 w 1477970"/>
                <a:gd name="connsiteY0" fmla="*/ 0 h 257442"/>
                <a:gd name="connsiteX1" fmla="*/ 1477970 w 1477970"/>
                <a:gd name="connsiteY1" fmla="*/ 257442 h 257442"/>
                <a:gd name="connsiteX2" fmla="*/ 0 w 1477970"/>
                <a:gd name="connsiteY2" fmla="*/ 257442 h 257442"/>
                <a:gd name="connsiteX3" fmla="*/ 0 w 1477970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279416 w 1376981"/>
                <a:gd name="connsiteY0" fmla="*/ 0 h 257442"/>
                <a:gd name="connsiteX1" fmla="*/ 1376981 w 1376981"/>
                <a:gd name="connsiteY1" fmla="*/ 257442 h 257442"/>
                <a:gd name="connsiteX2" fmla="*/ 0 w 1376981"/>
                <a:gd name="connsiteY2" fmla="*/ 257442 h 257442"/>
                <a:gd name="connsiteX3" fmla="*/ 0 w 1376981"/>
                <a:gd name="connsiteY3" fmla="*/ 0 h 257442"/>
                <a:gd name="connsiteX0" fmla="*/ 1279416 w 1279416"/>
                <a:gd name="connsiteY0" fmla="*/ 0 h 257442"/>
                <a:gd name="connsiteX1" fmla="*/ 1224696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6 w 1279416"/>
                <a:gd name="connsiteY1" fmla="*/ 257442 h 257442"/>
                <a:gd name="connsiteX2" fmla="*/ 1 w 1279416"/>
                <a:gd name="connsiteY2" fmla="*/ 257442 h 257442"/>
                <a:gd name="connsiteX3" fmla="*/ 0 w 1279416"/>
                <a:gd name="connsiteY3" fmla="*/ 0 h 257442"/>
                <a:gd name="connsiteX0" fmla="*/ 1279415 w 1279415"/>
                <a:gd name="connsiteY0" fmla="*/ 0 h 257442"/>
                <a:gd name="connsiteX1" fmla="*/ 1224695 w 1279415"/>
                <a:gd name="connsiteY1" fmla="*/ 257442 h 257442"/>
                <a:gd name="connsiteX2" fmla="*/ 0 w 1279415"/>
                <a:gd name="connsiteY2" fmla="*/ 257442 h 257442"/>
                <a:gd name="connsiteX3" fmla="*/ 0 w 1279415"/>
                <a:gd name="connsiteY3" fmla="*/ 0 h 257442"/>
                <a:gd name="connsiteX0" fmla="*/ 1119116 w 1224695"/>
                <a:gd name="connsiteY0" fmla="*/ 0 h 257442"/>
                <a:gd name="connsiteX1" fmla="*/ 1224695 w 1224695"/>
                <a:gd name="connsiteY1" fmla="*/ 257442 h 257442"/>
                <a:gd name="connsiteX2" fmla="*/ 0 w 1224695"/>
                <a:gd name="connsiteY2" fmla="*/ 257442 h 257442"/>
                <a:gd name="connsiteX3" fmla="*/ 0 w 122469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950801 w 1064395"/>
                <a:gd name="connsiteY0" fmla="*/ 0 h 257442"/>
                <a:gd name="connsiteX1" fmla="*/ 1064395 w 1064395"/>
                <a:gd name="connsiteY1" fmla="*/ 257442 h 257442"/>
                <a:gd name="connsiteX2" fmla="*/ 0 w 1064395"/>
                <a:gd name="connsiteY2" fmla="*/ 257442 h 257442"/>
                <a:gd name="connsiteX3" fmla="*/ 0 w 1064395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28733 w 1128733"/>
                <a:gd name="connsiteY0" fmla="*/ 0 h 257442"/>
                <a:gd name="connsiteX1" fmla="*/ 896080 w 1128733"/>
                <a:gd name="connsiteY1" fmla="*/ 257442 h 257442"/>
                <a:gd name="connsiteX2" fmla="*/ 0 w 1128733"/>
                <a:gd name="connsiteY2" fmla="*/ 257442 h 257442"/>
                <a:gd name="connsiteX3" fmla="*/ 0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0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811613 w 1811613"/>
                <a:gd name="connsiteY0" fmla="*/ 0 h 257442"/>
                <a:gd name="connsiteX1" fmla="*/ 1570944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971914 w 1971914"/>
                <a:gd name="connsiteY0" fmla="*/ 0 h 257442"/>
                <a:gd name="connsiteX1" fmla="*/ 1756892 w 1971914"/>
                <a:gd name="connsiteY1" fmla="*/ 257442 h 257442"/>
                <a:gd name="connsiteX2" fmla="*/ 0 w 1971914"/>
                <a:gd name="connsiteY2" fmla="*/ 257442 h 257442"/>
                <a:gd name="connsiteX3" fmla="*/ 0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0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1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1 w 1971915"/>
                <a:gd name="connsiteY3" fmla="*/ 0 h 257442"/>
                <a:gd name="connsiteX0" fmla="*/ 2140230 w 2140230"/>
                <a:gd name="connsiteY0" fmla="*/ 0 h 257442"/>
                <a:gd name="connsiteX1" fmla="*/ 1917193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0 w 2140230"/>
                <a:gd name="connsiteY3" fmla="*/ 0 h 257442"/>
                <a:gd name="connsiteX0" fmla="*/ 2401518 w 2401518"/>
                <a:gd name="connsiteY0" fmla="*/ 0 h 257442"/>
                <a:gd name="connsiteX1" fmla="*/ 2085508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401518 w 2401518"/>
                <a:gd name="connsiteY0" fmla="*/ 0 h 257442"/>
                <a:gd name="connsiteX1" fmla="*/ 2346797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401518 w 2401518"/>
                <a:gd name="connsiteY0" fmla="*/ 0 h 257442"/>
                <a:gd name="connsiteX1" fmla="*/ 2346797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401518 w 2401518"/>
                <a:gd name="connsiteY0" fmla="*/ 0 h 257442"/>
                <a:gd name="connsiteX1" fmla="*/ 2346797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561819 w 2561819"/>
                <a:gd name="connsiteY0" fmla="*/ 0 h 257442"/>
                <a:gd name="connsiteX1" fmla="*/ 2346797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730134 w 2730134"/>
                <a:gd name="connsiteY0" fmla="*/ 0 h 257442"/>
                <a:gd name="connsiteX1" fmla="*/ 2507098 w 2730134"/>
                <a:gd name="connsiteY1" fmla="*/ 257442 h 257442"/>
                <a:gd name="connsiteX2" fmla="*/ 0 w 2730134"/>
                <a:gd name="connsiteY2" fmla="*/ 257442 h 257442"/>
                <a:gd name="connsiteX3" fmla="*/ 0 w 2730134"/>
                <a:gd name="connsiteY3" fmla="*/ 0 h 257442"/>
                <a:gd name="connsiteX0" fmla="*/ 2730134 w 2730134"/>
                <a:gd name="connsiteY0" fmla="*/ 0 h 257442"/>
                <a:gd name="connsiteX1" fmla="*/ 2675412 w 2730134"/>
                <a:gd name="connsiteY1" fmla="*/ 257442 h 257442"/>
                <a:gd name="connsiteX2" fmla="*/ 0 w 2730134"/>
                <a:gd name="connsiteY2" fmla="*/ 257442 h 257442"/>
                <a:gd name="connsiteX3" fmla="*/ 0 w 2730134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1 w 2730135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1 w 2730135"/>
                <a:gd name="connsiteY3" fmla="*/ 0 h 257442"/>
                <a:gd name="connsiteX0" fmla="*/ 2983410 w 2983410"/>
                <a:gd name="connsiteY0" fmla="*/ 0 h 257442"/>
                <a:gd name="connsiteX1" fmla="*/ 2675413 w 2983410"/>
                <a:gd name="connsiteY1" fmla="*/ 257442 h 257442"/>
                <a:gd name="connsiteX2" fmla="*/ 0 w 2983410"/>
                <a:gd name="connsiteY2" fmla="*/ 257442 h 257442"/>
                <a:gd name="connsiteX3" fmla="*/ 1 w 2983410"/>
                <a:gd name="connsiteY3" fmla="*/ 0 h 257442"/>
                <a:gd name="connsiteX0" fmla="*/ 2983410 w 2983410"/>
                <a:gd name="connsiteY0" fmla="*/ 0 h 257442"/>
                <a:gd name="connsiteX1" fmla="*/ 2928688 w 2983410"/>
                <a:gd name="connsiteY1" fmla="*/ 257442 h 257442"/>
                <a:gd name="connsiteX2" fmla="*/ 0 w 2983410"/>
                <a:gd name="connsiteY2" fmla="*/ 257442 h 257442"/>
                <a:gd name="connsiteX3" fmla="*/ 1 w 2983410"/>
                <a:gd name="connsiteY3" fmla="*/ 0 h 257442"/>
                <a:gd name="connsiteX0" fmla="*/ 2983410 w 2983410"/>
                <a:gd name="connsiteY0" fmla="*/ 0 h 257442"/>
                <a:gd name="connsiteX1" fmla="*/ 2928688 w 2983410"/>
                <a:gd name="connsiteY1" fmla="*/ 257442 h 257442"/>
                <a:gd name="connsiteX2" fmla="*/ 0 w 2983410"/>
                <a:gd name="connsiteY2" fmla="*/ 257442 h 257442"/>
                <a:gd name="connsiteX3" fmla="*/ 1 w 2983410"/>
                <a:gd name="connsiteY3" fmla="*/ 0 h 257442"/>
                <a:gd name="connsiteX0" fmla="*/ 2983410 w 2983410"/>
                <a:gd name="connsiteY0" fmla="*/ 0 h 257442"/>
                <a:gd name="connsiteX1" fmla="*/ 2928688 w 2983410"/>
                <a:gd name="connsiteY1" fmla="*/ 257442 h 257442"/>
                <a:gd name="connsiteX2" fmla="*/ 0 w 2983410"/>
                <a:gd name="connsiteY2" fmla="*/ 257442 h 257442"/>
                <a:gd name="connsiteX3" fmla="*/ 0 w 2983410"/>
                <a:gd name="connsiteY3" fmla="*/ 0 h 257442"/>
                <a:gd name="connsiteX0" fmla="*/ 3169357 w 3169357"/>
                <a:gd name="connsiteY0" fmla="*/ 0 h 257442"/>
                <a:gd name="connsiteX1" fmla="*/ 2928688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329658 w 3329658"/>
                <a:gd name="connsiteY0" fmla="*/ 0 h 257442"/>
                <a:gd name="connsiteX1" fmla="*/ 3114636 w 3329658"/>
                <a:gd name="connsiteY1" fmla="*/ 257442 h 257442"/>
                <a:gd name="connsiteX2" fmla="*/ 0 w 3329658"/>
                <a:gd name="connsiteY2" fmla="*/ 257442 h 257442"/>
                <a:gd name="connsiteX3" fmla="*/ 0 w 3329658"/>
                <a:gd name="connsiteY3" fmla="*/ 0 h 257442"/>
                <a:gd name="connsiteX0" fmla="*/ 3329658 w 3329658"/>
                <a:gd name="connsiteY0" fmla="*/ 0 h 257442"/>
                <a:gd name="connsiteX1" fmla="*/ 3274936 w 3329658"/>
                <a:gd name="connsiteY1" fmla="*/ 257442 h 257442"/>
                <a:gd name="connsiteX2" fmla="*/ 0 w 3329658"/>
                <a:gd name="connsiteY2" fmla="*/ 257442 h 257442"/>
                <a:gd name="connsiteX3" fmla="*/ 0 w 3329658"/>
                <a:gd name="connsiteY3" fmla="*/ 0 h 257442"/>
                <a:gd name="connsiteX0" fmla="*/ 3329659 w 3329659"/>
                <a:gd name="connsiteY0" fmla="*/ 0 h 257442"/>
                <a:gd name="connsiteX1" fmla="*/ 3274937 w 3329659"/>
                <a:gd name="connsiteY1" fmla="*/ 257442 h 257442"/>
                <a:gd name="connsiteX2" fmla="*/ 0 w 3329659"/>
                <a:gd name="connsiteY2" fmla="*/ 257442 h 257442"/>
                <a:gd name="connsiteX3" fmla="*/ 1 w 3329659"/>
                <a:gd name="connsiteY3" fmla="*/ 0 h 257442"/>
                <a:gd name="connsiteX0" fmla="*/ 3329659 w 3329659"/>
                <a:gd name="connsiteY0" fmla="*/ 0 h 257442"/>
                <a:gd name="connsiteX1" fmla="*/ 3274937 w 3329659"/>
                <a:gd name="connsiteY1" fmla="*/ 257442 h 257442"/>
                <a:gd name="connsiteX2" fmla="*/ 0 w 3329659"/>
                <a:gd name="connsiteY2" fmla="*/ 257442 h 257442"/>
                <a:gd name="connsiteX3" fmla="*/ 1 w 3329659"/>
                <a:gd name="connsiteY3" fmla="*/ 0 h 257442"/>
                <a:gd name="connsiteX0" fmla="*/ 3497973 w 3497973"/>
                <a:gd name="connsiteY0" fmla="*/ 0 h 257442"/>
                <a:gd name="connsiteX1" fmla="*/ 3274937 w 3497973"/>
                <a:gd name="connsiteY1" fmla="*/ 257442 h 257442"/>
                <a:gd name="connsiteX2" fmla="*/ 0 w 3497973"/>
                <a:gd name="connsiteY2" fmla="*/ 257442 h 257442"/>
                <a:gd name="connsiteX3" fmla="*/ 1 w 3497973"/>
                <a:gd name="connsiteY3" fmla="*/ 0 h 257442"/>
                <a:gd name="connsiteX0" fmla="*/ 3497973 w 3497973"/>
                <a:gd name="connsiteY0" fmla="*/ 0 h 257442"/>
                <a:gd name="connsiteX1" fmla="*/ 3443252 w 3497973"/>
                <a:gd name="connsiteY1" fmla="*/ 257442 h 257442"/>
                <a:gd name="connsiteX2" fmla="*/ 0 w 3497973"/>
                <a:gd name="connsiteY2" fmla="*/ 257442 h 257442"/>
                <a:gd name="connsiteX3" fmla="*/ 1 w 3497973"/>
                <a:gd name="connsiteY3" fmla="*/ 0 h 257442"/>
                <a:gd name="connsiteX0" fmla="*/ 3497972 w 3497972"/>
                <a:gd name="connsiteY0" fmla="*/ 0 h 257442"/>
                <a:gd name="connsiteX1" fmla="*/ 3443251 w 3497972"/>
                <a:gd name="connsiteY1" fmla="*/ 257442 h 257442"/>
                <a:gd name="connsiteX2" fmla="*/ 0 w 3497972"/>
                <a:gd name="connsiteY2" fmla="*/ 257442 h 257442"/>
                <a:gd name="connsiteX3" fmla="*/ 0 w 3497972"/>
                <a:gd name="connsiteY3" fmla="*/ 0 h 257442"/>
                <a:gd name="connsiteX0" fmla="*/ 3497973 w 3497973"/>
                <a:gd name="connsiteY0" fmla="*/ 0 h 257442"/>
                <a:gd name="connsiteX1" fmla="*/ 3443252 w 3497973"/>
                <a:gd name="connsiteY1" fmla="*/ 257442 h 257442"/>
                <a:gd name="connsiteX2" fmla="*/ 1 w 3497973"/>
                <a:gd name="connsiteY2" fmla="*/ 257442 h 257442"/>
                <a:gd name="connsiteX3" fmla="*/ 0 w 3497973"/>
                <a:gd name="connsiteY3" fmla="*/ 0 h 257442"/>
                <a:gd name="connsiteX0" fmla="*/ 3321643 w 3443252"/>
                <a:gd name="connsiteY0" fmla="*/ 0 h 257442"/>
                <a:gd name="connsiteX1" fmla="*/ 3443252 w 3443252"/>
                <a:gd name="connsiteY1" fmla="*/ 257442 h 257442"/>
                <a:gd name="connsiteX2" fmla="*/ 1 w 3443252"/>
                <a:gd name="connsiteY2" fmla="*/ 257442 h 257442"/>
                <a:gd name="connsiteX3" fmla="*/ 0 w 3443252"/>
                <a:gd name="connsiteY3" fmla="*/ 0 h 257442"/>
                <a:gd name="connsiteX0" fmla="*/ 3321643 w 3321643"/>
                <a:gd name="connsiteY0" fmla="*/ 0 h 257442"/>
                <a:gd name="connsiteX1" fmla="*/ 3266922 w 3321643"/>
                <a:gd name="connsiteY1" fmla="*/ 257442 h 257442"/>
                <a:gd name="connsiteX2" fmla="*/ 1 w 3321643"/>
                <a:gd name="connsiteY2" fmla="*/ 257442 h 257442"/>
                <a:gd name="connsiteX3" fmla="*/ 0 w 3321643"/>
                <a:gd name="connsiteY3" fmla="*/ 0 h 257442"/>
                <a:gd name="connsiteX0" fmla="*/ 3321643 w 3321643"/>
                <a:gd name="connsiteY0" fmla="*/ 0 h 257442"/>
                <a:gd name="connsiteX1" fmla="*/ 3266922 w 3321643"/>
                <a:gd name="connsiteY1" fmla="*/ 257442 h 257442"/>
                <a:gd name="connsiteX2" fmla="*/ 2 w 3321643"/>
                <a:gd name="connsiteY2" fmla="*/ 257442 h 257442"/>
                <a:gd name="connsiteX3" fmla="*/ 0 w 3321643"/>
                <a:gd name="connsiteY3" fmla="*/ 0 h 257442"/>
                <a:gd name="connsiteX0" fmla="*/ 3321641 w 3321641"/>
                <a:gd name="connsiteY0" fmla="*/ 0 h 257442"/>
                <a:gd name="connsiteX1" fmla="*/ 3266920 w 3321641"/>
                <a:gd name="connsiteY1" fmla="*/ 257442 h 257442"/>
                <a:gd name="connsiteX2" fmla="*/ 0 w 3321641"/>
                <a:gd name="connsiteY2" fmla="*/ 257442 h 257442"/>
                <a:gd name="connsiteX3" fmla="*/ 0 w 3321641"/>
                <a:gd name="connsiteY3" fmla="*/ 0 h 257442"/>
                <a:gd name="connsiteX0" fmla="*/ 3135694 w 3266920"/>
                <a:gd name="connsiteY0" fmla="*/ 0 h 257442"/>
                <a:gd name="connsiteX1" fmla="*/ 3266920 w 3266920"/>
                <a:gd name="connsiteY1" fmla="*/ 257442 h 257442"/>
                <a:gd name="connsiteX2" fmla="*/ 0 w 3266920"/>
                <a:gd name="connsiteY2" fmla="*/ 257442 h 257442"/>
                <a:gd name="connsiteX3" fmla="*/ 0 w 3266920"/>
                <a:gd name="connsiteY3" fmla="*/ 0 h 257442"/>
                <a:gd name="connsiteX0" fmla="*/ 3135694 w 3135694"/>
                <a:gd name="connsiteY0" fmla="*/ 0 h 257442"/>
                <a:gd name="connsiteX1" fmla="*/ 3080973 w 3135694"/>
                <a:gd name="connsiteY1" fmla="*/ 257442 h 257442"/>
                <a:gd name="connsiteX2" fmla="*/ 0 w 3135694"/>
                <a:gd name="connsiteY2" fmla="*/ 257442 h 257442"/>
                <a:gd name="connsiteX3" fmla="*/ 0 w 3135694"/>
                <a:gd name="connsiteY3" fmla="*/ 0 h 257442"/>
                <a:gd name="connsiteX0" fmla="*/ 3135694 w 3135694"/>
                <a:gd name="connsiteY0" fmla="*/ 0 h 257442"/>
                <a:gd name="connsiteX1" fmla="*/ 3080973 w 3135694"/>
                <a:gd name="connsiteY1" fmla="*/ 257442 h 257442"/>
                <a:gd name="connsiteX2" fmla="*/ 0 w 3135694"/>
                <a:gd name="connsiteY2" fmla="*/ 257442 h 257442"/>
                <a:gd name="connsiteX3" fmla="*/ 0 w 3135694"/>
                <a:gd name="connsiteY3" fmla="*/ 0 h 257442"/>
                <a:gd name="connsiteX0" fmla="*/ 3135694 w 3135694"/>
                <a:gd name="connsiteY0" fmla="*/ 0 h 257442"/>
                <a:gd name="connsiteX1" fmla="*/ 3080973 w 3135694"/>
                <a:gd name="connsiteY1" fmla="*/ 257442 h 257442"/>
                <a:gd name="connsiteX2" fmla="*/ 0 w 3135694"/>
                <a:gd name="connsiteY2" fmla="*/ 257442 h 257442"/>
                <a:gd name="connsiteX3" fmla="*/ 0 w 3135694"/>
                <a:gd name="connsiteY3" fmla="*/ 0 h 257442"/>
                <a:gd name="connsiteX0" fmla="*/ 2967379 w 3080973"/>
                <a:gd name="connsiteY0" fmla="*/ 0 h 257442"/>
                <a:gd name="connsiteX1" fmla="*/ 3080973 w 3080973"/>
                <a:gd name="connsiteY1" fmla="*/ 257442 h 257442"/>
                <a:gd name="connsiteX2" fmla="*/ 0 w 3080973"/>
                <a:gd name="connsiteY2" fmla="*/ 257442 h 257442"/>
                <a:gd name="connsiteX3" fmla="*/ 0 w 3080973"/>
                <a:gd name="connsiteY3" fmla="*/ 0 h 257442"/>
                <a:gd name="connsiteX0" fmla="*/ 2967379 w 2967379"/>
                <a:gd name="connsiteY0" fmla="*/ 0 h 257442"/>
                <a:gd name="connsiteX1" fmla="*/ 2912659 w 2967379"/>
                <a:gd name="connsiteY1" fmla="*/ 257442 h 257442"/>
                <a:gd name="connsiteX2" fmla="*/ 0 w 2967379"/>
                <a:gd name="connsiteY2" fmla="*/ 257442 h 257442"/>
                <a:gd name="connsiteX3" fmla="*/ 0 w 2967379"/>
                <a:gd name="connsiteY3" fmla="*/ 0 h 257442"/>
                <a:gd name="connsiteX0" fmla="*/ 2967379 w 2967379"/>
                <a:gd name="connsiteY0" fmla="*/ 0 h 257442"/>
                <a:gd name="connsiteX1" fmla="*/ 2912659 w 2967379"/>
                <a:gd name="connsiteY1" fmla="*/ 257442 h 257442"/>
                <a:gd name="connsiteX2" fmla="*/ 1 w 2967379"/>
                <a:gd name="connsiteY2" fmla="*/ 257442 h 257442"/>
                <a:gd name="connsiteX3" fmla="*/ 0 w 2967379"/>
                <a:gd name="connsiteY3" fmla="*/ 0 h 257442"/>
                <a:gd name="connsiteX0" fmla="*/ 2967378 w 2967378"/>
                <a:gd name="connsiteY0" fmla="*/ 0 h 257442"/>
                <a:gd name="connsiteX1" fmla="*/ 2912658 w 2967378"/>
                <a:gd name="connsiteY1" fmla="*/ 257442 h 257442"/>
                <a:gd name="connsiteX2" fmla="*/ 0 w 2967378"/>
                <a:gd name="connsiteY2" fmla="*/ 257442 h 257442"/>
                <a:gd name="connsiteX3" fmla="*/ 0 w 2967378"/>
                <a:gd name="connsiteY3" fmla="*/ 0 h 257442"/>
                <a:gd name="connsiteX0" fmla="*/ 2807078 w 2912658"/>
                <a:gd name="connsiteY0" fmla="*/ 0 h 257442"/>
                <a:gd name="connsiteX1" fmla="*/ 2912658 w 2912658"/>
                <a:gd name="connsiteY1" fmla="*/ 257442 h 257442"/>
                <a:gd name="connsiteX2" fmla="*/ 0 w 2912658"/>
                <a:gd name="connsiteY2" fmla="*/ 257442 h 257442"/>
                <a:gd name="connsiteX3" fmla="*/ 0 w 2912658"/>
                <a:gd name="connsiteY3" fmla="*/ 0 h 257442"/>
                <a:gd name="connsiteX0" fmla="*/ 2807078 w 2807078"/>
                <a:gd name="connsiteY0" fmla="*/ 0 h 257442"/>
                <a:gd name="connsiteX1" fmla="*/ 2752357 w 2807078"/>
                <a:gd name="connsiteY1" fmla="*/ 257442 h 257442"/>
                <a:gd name="connsiteX2" fmla="*/ 0 w 2807078"/>
                <a:gd name="connsiteY2" fmla="*/ 257442 h 257442"/>
                <a:gd name="connsiteX3" fmla="*/ 0 w 2807078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1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1 w 2807079"/>
                <a:gd name="connsiteY3" fmla="*/ 0 h 257442"/>
                <a:gd name="connsiteX0" fmla="*/ 2638764 w 2752358"/>
                <a:gd name="connsiteY0" fmla="*/ 0 h 257442"/>
                <a:gd name="connsiteX1" fmla="*/ 2752358 w 2752358"/>
                <a:gd name="connsiteY1" fmla="*/ 257442 h 257442"/>
                <a:gd name="connsiteX2" fmla="*/ 0 w 2752358"/>
                <a:gd name="connsiteY2" fmla="*/ 257442 h 257442"/>
                <a:gd name="connsiteX3" fmla="*/ 1 w 2752358"/>
                <a:gd name="connsiteY3" fmla="*/ 0 h 257442"/>
                <a:gd name="connsiteX0" fmla="*/ 2638764 w 2638764"/>
                <a:gd name="connsiteY0" fmla="*/ 0 h 257442"/>
                <a:gd name="connsiteX1" fmla="*/ 2584043 w 2638764"/>
                <a:gd name="connsiteY1" fmla="*/ 257442 h 257442"/>
                <a:gd name="connsiteX2" fmla="*/ 0 w 2638764"/>
                <a:gd name="connsiteY2" fmla="*/ 257442 h 257442"/>
                <a:gd name="connsiteX3" fmla="*/ 1 w 2638764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460830 w 2584042"/>
                <a:gd name="connsiteY0" fmla="*/ 0 h 257442"/>
                <a:gd name="connsiteX1" fmla="*/ 2584042 w 2584042"/>
                <a:gd name="connsiteY1" fmla="*/ 257442 h 257442"/>
                <a:gd name="connsiteX2" fmla="*/ 0 w 2584042"/>
                <a:gd name="connsiteY2" fmla="*/ 257442 h 257442"/>
                <a:gd name="connsiteX3" fmla="*/ 0 w 2584042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629145 w 2629145"/>
                <a:gd name="connsiteY0" fmla="*/ 0 h 257442"/>
                <a:gd name="connsiteX1" fmla="*/ 2406109 w 2629145"/>
                <a:gd name="connsiteY1" fmla="*/ 257442 h 257442"/>
                <a:gd name="connsiteX2" fmla="*/ 0 w 2629145"/>
                <a:gd name="connsiteY2" fmla="*/ 257442 h 257442"/>
                <a:gd name="connsiteX3" fmla="*/ 0 w 2629145"/>
                <a:gd name="connsiteY3" fmla="*/ 0 h 257442"/>
                <a:gd name="connsiteX0" fmla="*/ 2629145 w 2629145"/>
                <a:gd name="connsiteY0" fmla="*/ 0 h 257442"/>
                <a:gd name="connsiteX1" fmla="*/ 2574424 w 2629145"/>
                <a:gd name="connsiteY1" fmla="*/ 257442 h 257442"/>
                <a:gd name="connsiteX2" fmla="*/ 0 w 2629145"/>
                <a:gd name="connsiteY2" fmla="*/ 257442 h 257442"/>
                <a:gd name="connsiteX3" fmla="*/ 0 w 2629145"/>
                <a:gd name="connsiteY3" fmla="*/ 0 h 257442"/>
                <a:gd name="connsiteX0" fmla="*/ 2629145 w 2629145"/>
                <a:gd name="connsiteY0" fmla="*/ 0 h 257442"/>
                <a:gd name="connsiteX1" fmla="*/ 2574424 w 2629145"/>
                <a:gd name="connsiteY1" fmla="*/ 257442 h 257442"/>
                <a:gd name="connsiteX2" fmla="*/ 0 w 2629145"/>
                <a:gd name="connsiteY2" fmla="*/ 257442 h 257442"/>
                <a:gd name="connsiteX3" fmla="*/ 0 w 2629145"/>
                <a:gd name="connsiteY3" fmla="*/ 0 h 257442"/>
                <a:gd name="connsiteX0" fmla="*/ 2629145 w 2629145"/>
                <a:gd name="connsiteY0" fmla="*/ 0 h 257442"/>
                <a:gd name="connsiteX1" fmla="*/ 2574424 w 2629145"/>
                <a:gd name="connsiteY1" fmla="*/ 257442 h 257442"/>
                <a:gd name="connsiteX2" fmla="*/ 0 w 2629145"/>
                <a:gd name="connsiteY2" fmla="*/ 257442 h 257442"/>
                <a:gd name="connsiteX3" fmla="*/ 0 w 2629145"/>
                <a:gd name="connsiteY3" fmla="*/ 0 h 257442"/>
                <a:gd name="connsiteX0" fmla="*/ 2789445 w 2789445"/>
                <a:gd name="connsiteY0" fmla="*/ 0 h 257442"/>
                <a:gd name="connsiteX1" fmla="*/ 25744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3116907 w 3116907"/>
                <a:gd name="connsiteY0" fmla="*/ 0 h 257442"/>
                <a:gd name="connsiteX1" fmla="*/ 2734724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277207 w 3277207"/>
                <a:gd name="connsiteY0" fmla="*/ 0 h 257442"/>
                <a:gd name="connsiteX1" fmla="*/ 3062186 w 3277207"/>
                <a:gd name="connsiteY1" fmla="*/ 257442 h 257442"/>
                <a:gd name="connsiteX2" fmla="*/ 0 w 3277207"/>
                <a:gd name="connsiteY2" fmla="*/ 257442 h 257442"/>
                <a:gd name="connsiteX3" fmla="*/ 0 w 3277207"/>
                <a:gd name="connsiteY3" fmla="*/ 0 h 257442"/>
                <a:gd name="connsiteX0" fmla="*/ 3277207 w 3277207"/>
                <a:gd name="connsiteY0" fmla="*/ 0 h 257442"/>
                <a:gd name="connsiteX1" fmla="*/ 3222486 w 3277207"/>
                <a:gd name="connsiteY1" fmla="*/ 257442 h 257442"/>
                <a:gd name="connsiteX2" fmla="*/ 0 w 3277207"/>
                <a:gd name="connsiteY2" fmla="*/ 257442 h 257442"/>
                <a:gd name="connsiteX3" fmla="*/ 0 w 3277207"/>
                <a:gd name="connsiteY3" fmla="*/ 0 h 257442"/>
                <a:gd name="connsiteX0" fmla="*/ 3277207 w 3277207"/>
                <a:gd name="connsiteY0" fmla="*/ 0 h 257442"/>
                <a:gd name="connsiteX1" fmla="*/ 3222486 w 3277207"/>
                <a:gd name="connsiteY1" fmla="*/ 257442 h 257442"/>
                <a:gd name="connsiteX2" fmla="*/ 0 w 3277207"/>
                <a:gd name="connsiteY2" fmla="*/ 257442 h 257442"/>
                <a:gd name="connsiteX3" fmla="*/ 0 w 3277207"/>
                <a:gd name="connsiteY3" fmla="*/ 0 h 257442"/>
                <a:gd name="connsiteX0" fmla="*/ 3277207 w 3277207"/>
                <a:gd name="connsiteY0" fmla="*/ 0 h 257442"/>
                <a:gd name="connsiteX1" fmla="*/ 3222486 w 3277207"/>
                <a:gd name="connsiteY1" fmla="*/ 257442 h 257442"/>
                <a:gd name="connsiteX2" fmla="*/ 0 w 3277207"/>
                <a:gd name="connsiteY2" fmla="*/ 257442 h 257442"/>
                <a:gd name="connsiteX3" fmla="*/ 0 w 3277207"/>
                <a:gd name="connsiteY3" fmla="*/ 0 h 257442"/>
                <a:gd name="connsiteX0" fmla="*/ 3116907 w 3222486"/>
                <a:gd name="connsiteY0" fmla="*/ 0 h 257442"/>
                <a:gd name="connsiteX1" fmla="*/ 3222486 w 3222486"/>
                <a:gd name="connsiteY1" fmla="*/ 257442 h 257442"/>
                <a:gd name="connsiteX2" fmla="*/ 0 w 3222486"/>
                <a:gd name="connsiteY2" fmla="*/ 257442 h 257442"/>
                <a:gd name="connsiteX3" fmla="*/ 0 w 3222486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1 w 3116907"/>
                <a:gd name="connsiteY2" fmla="*/ 257442 h 257442"/>
                <a:gd name="connsiteX3" fmla="*/ 0 w 3116907"/>
                <a:gd name="connsiteY3" fmla="*/ 0 h 257442"/>
                <a:gd name="connsiteX0" fmla="*/ 3116906 w 3116906"/>
                <a:gd name="connsiteY0" fmla="*/ 0 h 257442"/>
                <a:gd name="connsiteX1" fmla="*/ 3062185 w 3116906"/>
                <a:gd name="connsiteY1" fmla="*/ 257442 h 257442"/>
                <a:gd name="connsiteX2" fmla="*/ 0 w 3116906"/>
                <a:gd name="connsiteY2" fmla="*/ 257442 h 257442"/>
                <a:gd name="connsiteX3" fmla="*/ 0 w 3116906"/>
                <a:gd name="connsiteY3" fmla="*/ 0 h 257442"/>
                <a:gd name="connsiteX0" fmla="*/ 3302854 w 3302854"/>
                <a:gd name="connsiteY0" fmla="*/ 0 h 257442"/>
                <a:gd name="connsiteX1" fmla="*/ 3062185 w 3302854"/>
                <a:gd name="connsiteY1" fmla="*/ 257442 h 257442"/>
                <a:gd name="connsiteX2" fmla="*/ 0 w 3302854"/>
                <a:gd name="connsiteY2" fmla="*/ 257442 h 257442"/>
                <a:gd name="connsiteX3" fmla="*/ 0 w 3302854"/>
                <a:gd name="connsiteY3" fmla="*/ 0 h 257442"/>
                <a:gd name="connsiteX0" fmla="*/ 3302854 w 3302854"/>
                <a:gd name="connsiteY0" fmla="*/ 0 h 257442"/>
                <a:gd name="connsiteX1" fmla="*/ 3248133 w 3302854"/>
                <a:gd name="connsiteY1" fmla="*/ 257442 h 257442"/>
                <a:gd name="connsiteX2" fmla="*/ 0 w 3302854"/>
                <a:gd name="connsiteY2" fmla="*/ 257442 h 257442"/>
                <a:gd name="connsiteX3" fmla="*/ 0 w 3302854"/>
                <a:gd name="connsiteY3" fmla="*/ 0 h 257442"/>
                <a:gd name="connsiteX0" fmla="*/ 3302855 w 3302855"/>
                <a:gd name="connsiteY0" fmla="*/ 0 h 257442"/>
                <a:gd name="connsiteX1" fmla="*/ 3248134 w 3302855"/>
                <a:gd name="connsiteY1" fmla="*/ 257442 h 257442"/>
                <a:gd name="connsiteX2" fmla="*/ 0 w 3302855"/>
                <a:gd name="connsiteY2" fmla="*/ 257442 h 257442"/>
                <a:gd name="connsiteX3" fmla="*/ 1 w 3302855"/>
                <a:gd name="connsiteY3" fmla="*/ 0 h 257442"/>
                <a:gd name="connsiteX0" fmla="*/ 3302855 w 3302855"/>
                <a:gd name="connsiteY0" fmla="*/ 0 h 257442"/>
                <a:gd name="connsiteX1" fmla="*/ 3248134 w 3302855"/>
                <a:gd name="connsiteY1" fmla="*/ 257442 h 257442"/>
                <a:gd name="connsiteX2" fmla="*/ 0 w 3302855"/>
                <a:gd name="connsiteY2" fmla="*/ 257442 h 257442"/>
                <a:gd name="connsiteX3" fmla="*/ 1 w 3302855"/>
                <a:gd name="connsiteY3" fmla="*/ 0 h 257442"/>
                <a:gd name="connsiteX0" fmla="*/ 3463157 w 3463157"/>
                <a:gd name="connsiteY0" fmla="*/ 0 h 257442"/>
                <a:gd name="connsiteX1" fmla="*/ 3248134 w 3463157"/>
                <a:gd name="connsiteY1" fmla="*/ 257442 h 257442"/>
                <a:gd name="connsiteX2" fmla="*/ 0 w 3463157"/>
                <a:gd name="connsiteY2" fmla="*/ 257442 h 257442"/>
                <a:gd name="connsiteX3" fmla="*/ 1 w 3463157"/>
                <a:gd name="connsiteY3" fmla="*/ 0 h 257442"/>
                <a:gd name="connsiteX0" fmla="*/ 3463157 w 3463157"/>
                <a:gd name="connsiteY0" fmla="*/ 0 h 257442"/>
                <a:gd name="connsiteX1" fmla="*/ 3408436 w 3463157"/>
                <a:gd name="connsiteY1" fmla="*/ 257442 h 257442"/>
                <a:gd name="connsiteX2" fmla="*/ 0 w 3463157"/>
                <a:gd name="connsiteY2" fmla="*/ 257442 h 257442"/>
                <a:gd name="connsiteX3" fmla="*/ 1 w 3463157"/>
                <a:gd name="connsiteY3" fmla="*/ 0 h 257442"/>
                <a:gd name="connsiteX0" fmla="*/ 3463156 w 3463156"/>
                <a:gd name="connsiteY0" fmla="*/ 0 h 257442"/>
                <a:gd name="connsiteX1" fmla="*/ 3408435 w 3463156"/>
                <a:gd name="connsiteY1" fmla="*/ 257442 h 257442"/>
                <a:gd name="connsiteX2" fmla="*/ 0 w 3463156"/>
                <a:gd name="connsiteY2" fmla="*/ 257442 h 257442"/>
                <a:gd name="connsiteX3" fmla="*/ 0 w 3463156"/>
                <a:gd name="connsiteY3" fmla="*/ 0 h 257442"/>
                <a:gd name="connsiteX0" fmla="*/ 3463157 w 3463157"/>
                <a:gd name="connsiteY0" fmla="*/ 0 h 257442"/>
                <a:gd name="connsiteX1" fmla="*/ 3408436 w 3463157"/>
                <a:gd name="connsiteY1" fmla="*/ 257442 h 257442"/>
                <a:gd name="connsiteX2" fmla="*/ 1 w 3463157"/>
                <a:gd name="connsiteY2" fmla="*/ 257442 h 257442"/>
                <a:gd name="connsiteX3" fmla="*/ 0 w 3463157"/>
                <a:gd name="connsiteY3" fmla="*/ 0 h 257442"/>
                <a:gd name="connsiteX0" fmla="*/ 3631471 w 3631471"/>
                <a:gd name="connsiteY0" fmla="*/ 0 h 257442"/>
                <a:gd name="connsiteX1" fmla="*/ 3408436 w 3631471"/>
                <a:gd name="connsiteY1" fmla="*/ 257442 h 257442"/>
                <a:gd name="connsiteX2" fmla="*/ 1 w 3631471"/>
                <a:gd name="connsiteY2" fmla="*/ 257442 h 257442"/>
                <a:gd name="connsiteX3" fmla="*/ 0 w 3631471"/>
                <a:gd name="connsiteY3" fmla="*/ 0 h 257442"/>
                <a:gd name="connsiteX0" fmla="*/ 3631471 w 3631471"/>
                <a:gd name="connsiteY0" fmla="*/ 0 h 257442"/>
                <a:gd name="connsiteX1" fmla="*/ 3576750 w 3631471"/>
                <a:gd name="connsiteY1" fmla="*/ 257442 h 257442"/>
                <a:gd name="connsiteX2" fmla="*/ 1 w 3631471"/>
                <a:gd name="connsiteY2" fmla="*/ 257442 h 257442"/>
                <a:gd name="connsiteX3" fmla="*/ 0 w 3631471"/>
                <a:gd name="connsiteY3" fmla="*/ 0 h 257442"/>
                <a:gd name="connsiteX0" fmla="*/ 3631471 w 3631471"/>
                <a:gd name="connsiteY0" fmla="*/ 0 h 257442"/>
                <a:gd name="connsiteX1" fmla="*/ 3576750 w 3631471"/>
                <a:gd name="connsiteY1" fmla="*/ 257442 h 257442"/>
                <a:gd name="connsiteX2" fmla="*/ 1 w 3631471"/>
                <a:gd name="connsiteY2" fmla="*/ 257442 h 257442"/>
                <a:gd name="connsiteX3" fmla="*/ 0 w 3631471"/>
                <a:gd name="connsiteY3" fmla="*/ 0 h 257442"/>
                <a:gd name="connsiteX0" fmla="*/ 3631470 w 3631470"/>
                <a:gd name="connsiteY0" fmla="*/ 0 h 257442"/>
                <a:gd name="connsiteX1" fmla="*/ 3576749 w 3631470"/>
                <a:gd name="connsiteY1" fmla="*/ 257442 h 257442"/>
                <a:gd name="connsiteX2" fmla="*/ 0 w 3631470"/>
                <a:gd name="connsiteY2" fmla="*/ 257442 h 257442"/>
                <a:gd name="connsiteX3" fmla="*/ 0 w 3631470"/>
                <a:gd name="connsiteY3" fmla="*/ 0 h 257442"/>
                <a:gd name="connsiteX0" fmla="*/ 3463155 w 3576749"/>
                <a:gd name="connsiteY0" fmla="*/ 0 h 257442"/>
                <a:gd name="connsiteX1" fmla="*/ 3576749 w 3576749"/>
                <a:gd name="connsiteY1" fmla="*/ 257442 h 257442"/>
                <a:gd name="connsiteX2" fmla="*/ 0 w 3576749"/>
                <a:gd name="connsiteY2" fmla="*/ 257442 h 257442"/>
                <a:gd name="connsiteX3" fmla="*/ 0 w 3576749"/>
                <a:gd name="connsiteY3" fmla="*/ 0 h 257442"/>
                <a:gd name="connsiteX0" fmla="*/ 3463155 w 3463155"/>
                <a:gd name="connsiteY0" fmla="*/ 0 h 257442"/>
                <a:gd name="connsiteX1" fmla="*/ 3408435 w 3463155"/>
                <a:gd name="connsiteY1" fmla="*/ 257442 h 257442"/>
                <a:gd name="connsiteX2" fmla="*/ 0 w 3463155"/>
                <a:gd name="connsiteY2" fmla="*/ 257442 h 257442"/>
                <a:gd name="connsiteX3" fmla="*/ 0 w 3463155"/>
                <a:gd name="connsiteY3" fmla="*/ 0 h 257442"/>
                <a:gd name="connsiteX0" fmla="*/ 3463155 w 3463155"/>
                <a:gd name="connsiteY0" fmla="*/ 0 h 257442"/>
                <a:gd name="connsiteX1" fmla="*/ 3408435 w 3463155"/>
                <a:gd name="connsiteY1" fmla="*/ 257442 h 257442"/>
                <a:gd name="connsiteX2" fmla="*/ 0 w 3463155"/>
                <a:gd name="connsiteY2" fmla="*/ 257442 h 257442"/>
                <a:gd name="connsiteX3" fmla="*/ 0 w 3463155"/>
                <a:gd name="connsiteY3" fmla="*/ 0 h 257442"/>
                <a:gd name="connsiteX0" fmla="*/ 3463155 w 3463155"/>
                <a:gd name="connsiteY0" fmla="*/ 0 h 257442"/>
                <a:gd name="connsiteX1" fmla="*/ 3408435 w 3463155"/>
                <a:gd name="connsiteY1" fmla="*/ 257442 h 257442"/>
                <a:gd name="connsiteX2" fmla="*/ 0 w 3463155"/>
                <a:gd name="connsiteY2" fmla="*/ 257442 h 257442"/>
                <a:gd name="connsiteX3" fmla="*/ 0 w 3463155"/>
                <a:gd name="connsiteY3" fmla="*/ 0 h 257442"/>
                <a:gd name="connsiteX0" fmla="*/ 3302855 w 3408435"/>
                <a:gd name="connsiteY0" fmla="*/ 0 h 257442"/>
                <a:gd name="connsiteX1" fmla="*/ 3408435 w 3408435"/>
                <a:gd name="connsiteY1" fmla="*/ 257442 h 257442"/>
                <a:gd name="connsiteX2" fmla="*/ 0 w 3408435"/>
                <a:gd name="connsiteY2" fmla="*/ 257442 h 257442"/>
                <a:gd name="connsiteX3" fmla="*/ 0 w 3408435"/>
                <a:gd name="connsiteY3" fmla="*/ 0 h 257442"/>
                <a:gd name="connsiteX0" fmla="*/ 3302855 w 3302855"/>
                <a:gd name="connsiteY0" fmla="*/ 0 h 257442"/>
                <a:gd name="connsiteX1" fmla="*/ 3248134 w 3302855"/>
                <a:gd name="connsiteY1" fmla="*/ 257442 h 257442"/>
                <a:gd name="connsiteX2" fmla="*/ 0 w 3302855"/>
                <a:gd name="connsiteY2" fmla="*/ 257442 h 257442"/>
                <a:gd name="connsiteX3" fmla="*/ 0 w 3302855"/>
                <a:gd name="connsiteY3" fmla="*/ 0 h 257442"/>
                <a:gd name="connsiteX0" fmla="*/ 3302855 w 3302855"/>
                <a:gd name="connsiteY0" fmla="*/ 0 h 257442"/>
                <a:gd name="connsiteX1" fmla="*/ 3248134 w 3302855"/>
                <a:gd name="connsiteY1" fmla="*/ 257442 h 257442"/>
                <a:gd name="connsiteX2" fmla="*/ 0 w 3302855"/>
                <a:gd name="connsiteY2" fmla="*/ 257442 h 257442"/>
                <a:gd name="connsiteX3" fmla="*/ 0 w 3302855"/>
                <a:gd name="connsiteY3" fmla="*/ 0 h 257442"/>
                <a:gd name="connsiteX0" fmla="*/ 3302855 w 3302855"/>
                <a:gd name="connsiteY0" fmla="*/ 0 h 257442"/>
                <a:gd name="connsiteX1" fmla="*/ 3248134 w 3302855"/>
                <a:gd name="connsiteY1" fmla="*/ 257442 h 257442"/>
                <a:gd name="connsiteX2" fmla="*/ 0 w 3302855"/>
                <a:gd name="connsiteY2" fmla="*/ 257442 h 257442"/>
                <a:gd name="connsiteX3" fmla="*/ 0 w 3302855"/>
                <a:gd name="connsiteY3" fmla="*/ 0 h 257442"/>
                <a:gd name="connsiteX0" fmla="*/ 3116907 w 3248134"/>
                <a:gd name="connsiteY0" fmla="*/ 0 h 257442"/>
                <a:gd name="connsiteX1" fmla="*/ 3248134 w 3248134"/>
                <a:gd name="connsiteY1" fmla="*/ 257442 h 257442"/>
                <a:gd name="connsiteX2" fmla="*/ 0 w 3248134"/>
                <a:gd name="connsiteY2" fmla="*/ 257442 h 257442"/>
                <a:gd name="connsiteX3" fmla="*/ 0 w 3248134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1 w 3116907"/>
                <a:gd name="connsiteY2" fmla="*/ 257442 h 257442"/>
                <a:gd name="connsiteX3" fmla="*/ 0 w 3116907"/>
                <a:gd name="connsiteY3" fmla="*/ 0 h 257442"/>
                <a:gd name="connsiteX0" fmla="*/ 3116906 w 3116906"/>
                <a:gd name="connsiteY0" fmla="*/ 0 h 257442"/>
                <a:gd name="connsiteX1" fmla="*/ 3062185 w 3116906"/>
                <a:gd name="connsiteY1" fmla="*/ 257442 h 257442"/>
                <a:gd name="connsiteX2" fmla="*/ 0 w 3116906"/>
                <a:gd name="connsiteY2" fmla="*/ 257442 h 257442"/>
                <a:gd name="connsiteX3" fmla="*/ 0 w 3116906"/>
                <a:gd name="connsiteY3" fmla="*/ 0 h 257442"/>
                <a:gd name="connsiteX0" fmla="*/ 2941730 w 3062185"/>
                <a:gd name="connsiteY0" fmla="*/ 0 h 257442"/>
                <a:gd name="connsiteX1" fmla="*/ 3062185 w 3062185"/>
                <a:gd name="connsiteY1" fmla="*/ 257442 h 257442"/>
                <a:gd name="connsiteX2" fmla="*/ 0 w 3062185"/>
                <a:gd name="connsiteY2" fmla="*/ 257442 h 257442"/>
                <a:gd name="connsiteX3" fmla="*/ 0 w 3062185"/>
                <a:gd name="connsiteY3" fmla="*/ 0 h 257442"/>
                <a:gd name="connsiteX0" fmla="*/ 2941730 w 2941730"/>
                <a:gd name="connsiteY0" fmla="*/ 0 h 257442"/>
                <a:gd name="connsiteX1" fmla="*/ 2887010 w 2941730"/>
                <a:gd name="connsiteY1" fmla="*/ 257442 h 257442"/>
                <a:gd name="connsiteX2" fmla="*/ 0 w 2941730"/>
                <a:gd name="connsiteY2" fmla="*/ 257442 h 257442"/>
                <a:gd name="connsiteX3" fmla="*/ 0 w 2941730"/>
                <a:gd name="connsiteY3" fmla="*/ 0 h 257442"/>
                <a:gd name="connsiteX0" fmla="*/ 2941730 w 2941730"/>
                <a:gd name="connsiteY0" fmla="*/ 0 h 257442"/>
                <a:gd name="connsiteX1" fmla="*/ 2887010 w 2941730"/>
                <a:gd name="connsiteY1" fmla="*/ 257442 h 257442"/>
                <a:gd name="connsiteX2" fmla="*/ 0 w 2941730"/>
                <a:gd name="connsiteY2" fmla="*/ 257442 h 257442"/>
                <a:gd name="connsiteX3" fmla="*/ 0 w 2941730"/>
                <a:gd name="connsiteY3" fmla="*/ 0 h 257442"/>
                <a:gd name="connsiteX0" fmla="*/ 2941730 w 2941730"/>
                <a:gd name="connsiteY0" fmla="*/ 0 h 257442"/>
                <a:gd name="connsiteX1" fmla="*/ 2887010 w 2941730"/>
                <a:gd name="connsiteY1" fmla="*/ 257442 h 257442"/>
                <a:gd name="connsiteX2" fmla="*/ 0 w 2941730"/>
                <a:gd name="connsiteY2" fmla="*/ 257442 h 257442"/>
                <a:gd name="connsiteX3" fmla="*/ 0 w 2941730"/>
                <a:gd name="connsiteY3" fmla="*/ 0 h 257442"/>
                <a:gd name="connsiteX0" fmla="*/ 2789445 w 2887010"/>
                <a:gd name="connsiteY0" fmla="*/ 0 h 257442"/>
                <a:gd name="connsiteX1" fmla="*/ 2887010 w 2887010"/>
                <a:gd name="connsiteY1" fmla="*/ 257442 h 257442"/>
                <a:gd name="connsiteX2" fmla="*/ 0 w 2887010"/>
                <a:gd name="connsiteY2" fmla="*/ 257442 h 257442"/>
                <a:gd name="connsiteX3" fmla="*/ 0 w 2887010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1 w 2789445"/>
                <a:gd name="connsiteY2" fmla="*/ 257442 h 257442"/>
                <a:gd name="connsiteX3" fmla="*/ 0 w 2789445"/>
                <a:gd name="connsiteY3" fmla="*/ 0 h 257442"/>
                <a:gd name="connsiteX0" fmla="*/ 2789444 w 2789444"/>
                <a:gd name="connsiteY0" fmla="*/ 0 h 257442"/>
                <a:gd name="connsiteX1" fmla="*/ 2734723 w 2789444"/>
                <a:gd name="connsiteY1" fmla="*/ 257442 h 257442"/>
                <a:gd name="connsiteX2" fmla="*/ 0 w 2789444"/>
                <a:gd name="connsiteY2" fmla="*/ 257442 h 257442"/>
                <a:gd name="connsiteX3" fmla="*/ 0 w 2789444"/>
                <a:gd name="connsiteY3" fmla="*/ 0 h 257442"/>
                <a:gd name="connsiteX0" fmla="*/ 2629144 w 2734723"/>
                <a:gd name="connsiteY0" fmla="*/ 0 h 257442"/>
                <a:gd name="connsiteX1" fmla="*/ 2734723 w 2734723"/>
                <a:gd name="connsiteY1" fmla="*/ 257442 h 257442"/>
                <a:gd name="connsiteX2" fmla="*/ 0 w 2734723"/>
                <a:gd name="connsiteY2" fmla="*/ 257442 h 257442"/>
                <a:gd name="connsiteX3" fmla="*/ 0 w 2734723"/>
                <a:gd name="connsiteY3" fmla="*/ 0 h 257442"/>
                <a:gd name="connsiteX0" fmla="*/ 2629144 w 2629144"/>
                <a:gd name="connsiteY0" fmla="*/ 0 h 257442"/>
                <a:gd name="connsiteX1" fmla="*/ 2574424 w 2629144"/>
                <a:gd name="connsiteY1" fmla="*/ 257442 h 257442"/>
                <a:gd name="connsiteX2" fmla="*/ 0 w 2629144"/>
                <a:gd name="connsiteY2" fmla="*/ 257442 h 257442"/>
                <a:gd name="connsiteX3" fmla="*/ 0 w 2629144"/>
                <a:gd name="connsiteY3" fmla="*/ 0 h 257442"/>
                <a:gd name="connsiteX0" fmla="*/ 2629144 w 2629144"/>
                <a:gd name="connsiteY0" fmla="*/ 0 h 257442"/>
                <a:gd name="connsiteX1" fmla="*/ 2574424 w 2629144"/>
                <a:gd name="connsiteY1" fmla="*/ 257442 h 257442"/>
                <a:gd name="connsiteX2" fmla="*/ 0 w 2629144"/>
                <a:gd name="connsiteY2" fmla="*/ 257442 h 257442"/>
                <a:gd name="connsiteX3" fmla="*/ 0 w 2629144"/>
                <a:gd name="connsiteY3" fmla="*/ 0 h 257442"/>
                <a:gd name="connsiteX0" fmla="*/ 2629144 w 2629144"/>
                <a:gd name="connsiteY0" fmla="*/ 0 h 257442"/>
                <a:gd name="connsiteX1" fmla="*/ 2574424 w 2629144"/>
                <a:gd name="connsiteY1" fmla="*/ 257442 h 257442"/>
                <a:gd name="connsiteX2" fmla="*/ 0 w 2629144"/>
                <a:gd name="connsiteY2" fmla="*/ 257442 h 257442"/>
                <a:gd name="connsiteX3" fmla="*/ 0 w 2629144"/>
                <a:gd name="connsiteY3" fmla="*/ 0 h 257442"/>
                <a:gd name="connsiteX0" fmla="*/ 2460830 w 2574424"/>
                <a:gd name="connsiteY0" fmla="*/ 0 h 257442"/>
                <a:gd name="connsiteX1" fmla="*/ 2574424 w 2574424"/>
                <a:gd name="connsiteY1" fmla="*/ 257442 h 257442"/>
                <a:gd name="connsiteX2" fmla="*/ 0 w 2574424"/>
                <a:gd name="connsiteY2" fmla="*/ 257442 h 257442"/>
                <a:gd name="connsiteX3" fmla="*/ 0 w 2574424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638763 w 2638763"/>
                <a:gd name="connsiteY0" fmla="*/ 0 h 257442"/>
                <a:gd name="connsiteX1" fmla="*/ 2406109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807079 w 2807079"/>
                <a:gd name="connsiteY0" fmla="*/ 0 h 257442"/>
                <a:gd name="connsiteX1" fmla="*/ 2584042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967379 w 2967379"/>
                <a:gd name="connsiteY0" fmla="*/ 0 h 257442"/>
                <a:gd name="connsiteX1" fmla="*/ 2752358 w 2967379"/>
                <a:gd name="connsiteY1" fmla="*/ 257442 h 257442"/>
                <a:gd name="connsiteX2" fmla="*/ 0 w 2967379"/>
                <a:gd name="connsiteY2" fmla="*/ 257442 h 257442"/>
                <a:gd name="connsiteX3" fmla="*/ 0 w 2967379"/>
                <a:gd name="connsiteY3" fmla="*/ 0 h 257442"/>
                <a:gd name="connsiteX0" fmla="*/ 2967379 w 2967379"/>
                <a:gd name="connsiteY0" fmla="*/ 0 h 257442"/>
                <a:gd name="connsiteX1" fmla="*/ 2912658 w 2967379"/>
                <a:gd name="connsiteY1" fmla="*/ 257442 h 257442"/>
                <a:gd name="connsiteX2" fmla="*/ 0 w 2967379"/>
                <a:gd name="connsiteY2" fmla="*/ 257442 h 257442"/>
                <a:gd name="connsiteX3" fmla="*/ 0 w 2967379"/>
                <a:gd name="connsiteY3" fmla="*/ 0 h 257442"/>
                <a:gd name="connsiteX0" fmla="*/ 2967379 w 2967379"/>
                <a:gd name="connsiteY0" fmla="*/ 0 h 257442"/>
                <a:gd name="connsiteX1" fmla="*/ 2912658 w 2967379"/>
                <a:gd name="connsiteY1" fmla="*/ 257442 h 257442"/>
                <a:gd name="connsiteX2" fmla="*/ 0 w 2967379"/>
                <a:gd name="connsiteY2" fmla="*/ 257442 h 257442"/>
                <a:gd name="connsiteX3" fmla="*/ 0 w 2967379"/>
                <a:gd name="connsiteY3" fmla="*/ 0 h 257442"/>
                <a:gd name="connsiteX0" fmla="*/ 2967379 w 2967379"/>
                <a:gd name="connsiteY0" fmla="*/ 0 h 257442"/>
                <a:gd name="connsiteX1" fmla="*/ 2912658 w 2967379"/>
                <a:gd name="connsiteY1" fmla="*/ 257442 h 257442"/>
                <a:gd name="connsiteX2" fmla="*/ 0 w 2967379"/>
                <a:gd name="connsiteY2" fmla="*/ 257442 h 257442"/>
                <a:gd name="connsiteX3" fmla="*/ 0 w 2967379"/>
                <a:gd name="connsiteY3" fmla="*/ 0 h 257442"/>
                <a:gd name="connsiteX0" fmla="*/ 3135694 w 3135694"/>
                <a:gd name="connsiteY0" fmla="*/ 0 h 257442"/>
                <a:gd name="connsiteX1" fmla="*/ 2912658 w 3135694"/>
                <a:gd name="connsiteY1" fmla="*/ 257442 h 257442"/>
                <a:gd name="connsiteX2" fmla="*/ 0 w 3135694"/>
                <a:gd name="connsiteY2" fmla="*/ 257442 h 257442"/>
                <a:gd name="connsiteX3" fmla="*/ 0 w 3135694"/>
                <a:gd name="connsiteY3" fmla="*/ 0 h 257442"/>
                <a:gd name="connsiteX0" fmla="*/ 3135694 w 3135694"/>
                <a:gd name="connsiteY0" fmla="*/ 0 h 257442"/>
                <a:gd name="connsiteX1" fmla="*/ 3080972 w 3135694"/>
                <a:gd name="connsiteY1" fmla="*/ 257442 h 257442"/>
                <a:gd name="connsiteX2" fmla="*/ 0 w 3135694"/>
                <a:gd name="connsiteY2" fmla="*/ 257442 h 257442"/>
                <a:gd name="connsiteX3" fmla="*/ 0 w 3135694"/>
                <a:gd name="connsiteY3" fmla="*/ 0 h 257442"/>
                <a:gd name="connsiteX0" fmla="*/ 3135695 w 3135695"/>
                <a:gd name="connsiteY0" fmla="*/ 0 h 257442"/>
                <a:gd name="connsiteX1" fmla="*/ 3080973 w 3135695"/>
                <a:gd name="connsiteY1" fmla="*/ 257442 h 257442"/>
                <a:gd name="connsiteX2" fmla="*/ 0 w 3135695"/>
                <a:gd name="connsiteY2" fmla="*/ 257442 h 257442"/>
                <a:gd name="connsiteX3" fmla="*/ 1 w 3135695"/>
                <a:gd name="connsiteY3" fmla="*/ 0 h 257442"/>
                <a:gd name="connsiteX0" fmla="*/ 3135695 w 3135695"/>
                <a:gd name="connsiteY0" fmla="*/ 0 h 257442"/>
                <a:gd name="connsiteX1" fmla="*/ 3080973 w 3135695"/>
                <a:gd name="connsiteY1" fmla="*/ 257442 h 257442"/>
                <a:gd name="connsiteX2" fmla="*/ 0 w 3135695"/>
                <a:gd name="connsiteY2" fmla="*/ 257442 h 257442"/>
                <a:gd name="connsiteX3" fmla="*/ 1 w 3135695"/>
                <a:gd name="connsiteY3" fmla="*/ 0 h 257442"/>
                <a:gd name="connsiteX0" fmla="*/ 3321643 w 3321643"/>
                <a:gd name="connsiteY0" fmla="*/ 0 h 257442"/>
                <a:gd name="connsiteX1" fmla="*/ 3080973 w 3321643"/>
                <a:gd name="connsiteY1" fmla="*/ 257442 h 257442"/>
                <a:gd name="connsiteX2" fmla="*/ 0 w 3321643"/>
                <a:gd name="connsiteY2" fmla="*/ 257442 h 257442"/>
                <a:gd name="connsiteX3" fmla="*/ 1 w 3321643"/>
                <a:gd name="connsiteY3" fmla="*/ 0 h 257442"/>
                <a:gd name="connsiteX0" fmla="*/ 3321643 w 3321643"/>
                <a:gd name="connsiteY0" fmla="*/ 0 h 257442"/>
                <a:gd name="connsiteX1" fmla="*/ 3266922 w 3321643"/>
                <a:gd name="connsiteY1" fmla="*/ 257442 h 257442"/>
                <a:gd name="connsiteX2" fmla="*/ 0 w 3321643"/>
                <a:gd name="connsiteY2" fmla="*/ 257442 h 257442"/>
                <a:gd name="connsiteX3" fmla="*/ 1 w 3321643"/>
                <a:gd name="connsiteY3" fmla="*/ 0 h 257442"/>
                <a:gd name="connsiteX0" fmla="*/ 3321642 w 3321642"/>
                <a:gd name="connsiteY0" fmla="*/ 0 h 257442"/>
                <a:gd name="connsiteX1" fmla="*/ 3266921 w 3321642"/>
                <a:gd name="connsiteY1" fmla="*/ 257442 h 257442"/>
                <a:gd name="connsiteX2" fmla="*/ 0 w 3321642"/>
                <a:gd name="connsiteY2" fmla="*/ 257442 h 257442"/>
                <a:gd name="connsiteX3" fmla="*/ 0 w 3321642"/>
                <a:gd name="connsiteY3" fmla="*/ 0 h 257442"/>
                <a:gd name="connsiteX0" fmla="*/ 3321643 w 3321643"/>
                <a:gd name="connsiteY0" fmla="*/ 0 h 257442"/>
                <a:gd name="connsiteX1" fmla="*/ 3266922 w 3321643"/>
                <a:gd name="connsiteY1" fmla="*/ 257442 h 257442"/>
                <a:gd name="connsiteX2" fmla="*/ 1 w 3321643"/>
                <a:gd name="connsiteY2" fmla="*/ 257442 h 257442"/>
                <a:gd name="connsiteX3" fmla="*/ 0 w 3321643"/>
                <a:gd name="connsiteY3" fmla="*/ 0 h 257442"/>
                <a:gd name="connsiteX0" fmla="*/ 3481943 w 3481943"/>
                <a:gd name="connsiteY0" fmla="*/ 0 h 257442"/>
                <a:gd name="connsiteX1" fmla="*/ 3266922 w 3481943"/>
                <a:gd name="connsiteY1" fmla="*/ 257442 h 257442"/>
                <a:gd name="connsiteX2" fmla="*/ 1 w 3481943"/>
                <a:gd name="connsiteY2" fmla="*/ 257442 h 257442"/>
                <a:gd name="connsiteX3" fmla="*/ 0 w 3481943"/>
                <a:gd name="connsiteY3" fmla="*/ 0 h 257442"/>
                <a:gd name="connsiteX0" fmla="*/ 3481943 w 3481943"/>
                <a:gd name="connsiteY0" fmla="*/ 0 h 257442"/>
                <a:gd name="connsiteX1" fmla="*/ 3427222 w 3481943"/>
                <a:gd name="connsiteY1" fmla="*/ 257442 h 257442"/>
                <a:gd name="connsiteX2" fmla="*/ 1 w 3481943"/>
                <a:gd name="connsiteY2" fmla="*/ 257442 h 257442"/>
                <a:gd name="connsiteX3" fmla="*/ 0 w 3481943"/>
                <a:gd name="connsiteY3" fmla="*/ 0 h 257442"/>
                <a:gd name="connsiteX0" fmla="*/ 3481943 w 3481943"/>
                <a:gd name="connsiteY0" fmla="*/ 0 h 257442"/>
                <a:gd name="connsiteX1" fmla="*/ 3427222 w 3481943"/>
                <a:gd name="connsiteY1" fmla="*/ 257442 h 257442"/>
                <a:gd name="connsiteX2" fmla="*/ 1 w 3481943"/>
                <a:gd name="connsiteY2" fmla="*/ 257442 h 257442"/>
                <a:gd name="connsiteX3" fmla="*/ 0 w 3481943"/>
                <a:gd name="connsiteY3" fmla="*/ 0 h 257442"/>
                <a:gd name="connsiteX0" fmla="*/ 3481942 w 3481942"/>
                <a:gd name="connsiteY0" fmla="*/ 0 h 257442"/>
                <a:gd name="connsiteX1" fmla="*/ 3427221 w 3481942"/>
                <a:gd name="connsiteY1" fmla="*/ 257442 h 257442"/>
                <a:gd name="connsiteX2" fmla="*/ 0 w 3481942"/>
                <a:gd name="connsiteY2" fmla="*/ 257442 h 257442"/>
                <a:gd name="connsiteX3" fmla="*/ 0 w 3481942"/>
                <a:gd name="connsiteY3" fmla="*/ 0 h 257442"/>
                <a:gd name="connsiteX0" fmla="*/ 3650257 w 3650257"/>
                <a:gd name="connsiteY0" fmla="*/ 0 h 257442"/>
                <a:gd name="connsiteX1" fmla="*/ 3427221 w 3650257"/>
                <a:gd name="connsiteY1" fmla="*/ 257442 h 257442"/>
                <a:gd name="connsiteX2" fmla="*/ 0 w 3650257"/>
                <a:gd name="connsiteY2" fmla="*/ 257442 h 257442"/>
                <a:gd name="connsiteX3" fmla="*/ 0 w 3650257"/>
                <a:gd name="connsiteY3" fmla="*/ 0 h 257442"/>
                <a:gd name="connsiteX0" fmla="*/ 3650257 w 3650257"/>
                <a:gd name="connsiteY0" fmla="*/ 0 h 257442"/>
                <a:gd name="connsiteX1" fmla="*/ 3595536 w 3650257"/>
                <a:gd name="connsiteY1" fmla="*/ 257442 h 257442"/>
                <a:gd name="connsiteX2" fmla="*/ 0 w 3650257"/>
                <a:gd name="connsiteY2" fmla="*/ 257442 h 257442"/>
                <a:gd name="connsiteX3" fmla="*/ 0 w 3650257"/>
                <a:gd name="connsiteY3" fmla="*/ 0 h 257442"/>
                <a:gd name="connsiteX0" fmla="*/ 3650258 w 3650258"/>
                <a:gd name="connsiteY0" fmla="*/ 0 h 257442"/>
                <a:gd name="connsiteX1" fmla="*/ 3595537 w 3650258"/>
                <a:gd name="connsiteY1" fmla="*/ 257442 h 257442"/>
                <a:gd name="connsiteX2" fmla="*/ 0 w 3650258"/>
                <a:gd name="connsiteY2" fmla="*/ 257442 h 257442"/>
                <a:gd name="connsiteX3" fmla="*/ 1 w 3650258"/>
                <a:gd name="connsiteY3" fmla="*/ 0 h 257442"/>
                <a:gd name="connsiteX0" fmla="*/ 3650258 w 3650258"/>
                <a:gd name="connsiteY0" fmla="*/ 0 h 257442"/>
                <a:gd name="connsiteX1" fmla="*/ 3595537 w 3650258"/>
                <a:gd name="connsiteY1" fmla="*/ 257442 h 257442"/>
                <a:gd name="connsiteX2" fmla="*/ 0 w 3650258"/>
                <a:gd name="connsiteY2" fmla="*/ 257442 h 257442"/>
                <a:gd name="connsiteX3" fmla="*/ 0 w 365025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0258" h="257442">
                  <a:moveTo>
                    <a:pt x="3650258" y="0"/>
                  </a:moveTo>
                  <a:lnTo>
                    <a:pt x="3595537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3" name="btfpRunningAgenda1LevelTextLeft238016">
              <a:extLst>
                <a:ext uri="{FF2B5EF4-FFF2-40B4-BE49-F238E27FC236}">
                  <a16:creationId xmlns:a16="http://schemas.microsoft.com/office/drawing/2014/main" id="{FB8856C1-A090-64CA-F5F0-4E4998C02231}"/>
                </a:ext>
              </a:extLst>
            </p:cNvPr>
            <p:cNvSpPr txBox="1"/>
            <p:nvPr/>
          </p:nvSpPr>
          <p:spPr bwMode="gray">
            <a:xfrm>
              <a:off x="0" y="876300"/>
              <a:ext cx="359553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nsumer sentiment</a:t>
              </a: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060D9A26-EE40-2DC0-54C8-D5B58BA966D2}"/>
              </a:ext>
            </a:extLst>
          </p:cNvPr>
          <p:cNvSpPr/>
          <p:nvPr/>
        </p:nvSpPr>
        <p:spPr bwMode="gray">
          <a:xfrm>
            <a:off x="8424254" y="2068278"/>
            <a:ext cx="314123" cy="59809"/>
          </a:xfrm>
          <a:prstGeom prst="rect">
            <a:avLst/>
          </a:prstGeom>
          <a:solidFill>
            <a:srgbClr val="7791A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6A9FCA5-07B4-BAA6-613A-7C144E9A5486}"/>
              </a:ext>
            </a:extLst>
          </p:cNvPr>
          <p:cNvSpPr/>
          <p:nvPr/>
        </p:nvSpPr>
        <p:spPr bwMode="gray">
          <a:xfrm>
            <a:off x="8424254" y="2401976"/>
            <a:ext cx="314123" cy="59809"/>
          </a:xfrm>
          <a:prstGeom prst="rect">
            <a:avLst/>
          </a:prstGeom>
          <a:solidFill>
            <a:srgbClr val="5C5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082FEC9-B871-FE5A-B385-5A16F6CE832D}"/>
              </a:ext>
            </a:extLst>
          </p:cNvPr>
          <p:cNvSpPr/>
          <p:nvPr/>
        </p:nvSpPr>
        <p:spPr bwMode="gray">
          <a:xfrm>
            <a:off x="8424254" y="2735674"/>
            <a:ext cx="314123" cy="59809"/>
          </a:xfrm>
          <a:prstGeom prst="rect">
            <a:avLst/>
          </a:prstGeom>
          <a:solidFill>
            <a:srgbClr val="FAEBD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1532337-BE7C-93E1-22BE-905596D3CF88}"/>
              </a:ext>
            </a:extLst>
          </p:cNvPr>
          <p:cNvSpPr/>
          <p:nvPr/>
        </p:nvSpPr>
        <p:spPr bwMode="gray">
          <a:xfrm>
            <a:off x="8424254" y="3069372"/>
            <a:ext cx="314123" cy="59809"/>
          </a:xfrm>
          <a:prstGeom prst="rect">
            <a:avLst/>
          </a:prstGeom>
          <a:solidFill>
            <a:srgbClr val="AA883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49DA155-CEE2-A987-C13A-2219AD05FD91}"/>
              </a:ext>
            </a:extLst>
          </p:cNvPr>
          <p:cNvSpPr/>
          <p:nvPr/>
        </p:nvSpPr>
        <p:spPr bwMode="gray">
          <a:xfrm>
            <a:off x="8424254" y="3403070"/>
            <a:ext cx="314123" cy="59809"/>
          </a:xfrm>
          <a:prstGeom prst="rect">
            <a:avLst/>
          </a:prstGeom>
          <a:solidFill>
            <a:srgbClr val="50786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0974CD5-4260-5A38-0304-D2D84C506EF0}"/>
              </a:ext>
            </a:extLst>
          </p:cNvPr>
          <p:cNvSpPr/>
          <p:nvPr/>
        </p:nvSpPr>
        <p:spPr bwMode="gray">
          <a:xfrm>
            <a:off x="8424254" y="3736768"/>
            <a:ext cx="314123" cy="59809"/>
          </a:xfrm>
          <a:prstGeom prst="rect">
            <a:avLst/>
          </a:prstGeom>
          <a:solidFill>
            <a:srgbClr val="624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6C42EA3-89D6-2002-F85D-DA64F078F244}"/>
              </a:ext>
            </a:extLst>
          </p:cNvPr>
          <p:cNvSpPr/>
          <p:nvPr/>
        </p:nvSpPr>
        <p:spPr bwMode="gray">
          <a:xfrm>
            <a:off x="8424254" y="4070466"/>
            <a:ext cx="314123" cy="59809"/>
          </a:xfrm>
          <a:prstGeom prst="rect">
            <a:avLst/>
          </a:prstGeom>
          <a:solidFill>
            <a:srgbClr val="CDB48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3679337-502E-0200-419C-B4259207745D}"/>
              </a:ext>
            </a:extLst>
          </p:cNvPr>
          <p:cNvSpPr/>
          <p:nvPr/>
        </p:nvSpPr>
        <p:spPr bwMode="gray">
          <a:xfrm>
            <a:off x="8424254" y="4432202"/>
            <a:ext cx="314123" cy="59809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ED54480-C28B-5413-5925-F9413257A808}"/>
              </a:ext>
            </a:extLst>
          </p:cNvPr>
          <p:cNvSpPr/>
          <p:nvPr/>
        </p:nvSpPr>
        <p:spPr bwMode="gray">
          <a:xfrm>
            <a:off x="8424254" y="4774363"/>
            <a:ext cx="314123" cy="59809"/>
          </a:xfrm>
          <a:prstGeom prst="rect">
            <a:avLst/>
          </a:prstGeom>
          <a:solidFill>
            <a:srgbClr val="45637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801DD02-B41F-41D0-9943-72F1597AEB3E}"/>
              </a:ext>
            </a:extLst>
          </p:cNvPr>
          <p:cNvSpPr/>
          <p:nvPr/>
        </p:nvSpPr>
        <p:spPr bwMode="gray">
          <a:xfrm>
            <a:off x="8424254" y="5086384"/>
            <a:ext cx="314123" cy="59809"/>
          </a:xfrm>
          <a:prstGeom prst="rect">
            <a:avLst/>
          </a:prstGeom>
          <a:solidFill>
            <a:srgbClr val="BBCAB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D6BEF25-5712-EB52-9A0A-BE1975874298}"/>
              </a:ext>
            </a:extLst>
          </p:cNvPr>
          <p:cNvSpPr/>
          <p:nvPr/>
        </p:nvSpPr>
        <p:spPr bwMode="gray">
          <a:xfrm>
            <a:off x="8346404" y="4282527"/>
            <a:ext cx="3510206" cy="359158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0F730369-50B4-0B81-09A9-62798076F21E}"/>
              </a:ext>
            </a:extLst>
          </p:cNvPr>
          <p:cNvSpPr/>
          <p:nvPr/>
        </p:nvSpPr>
        <p:spPr bwMode="gray">
          <a:xfrm>
            <a:off x="249454" y="5536415"/>
            <a:ext cx="7864441" cy="252999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C8F9819F-04F2-7A25-7F0A-C02BCBE3F754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12" y="950918"/>
            <a:ext cx="257175" cy="2502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76857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A0BA3DAD-9B34-4D4B-A195-6203D0A4A0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777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84" imgH="384" progId="TCLayout.ActiveDocument.1">
                  <p:embed/>
                </p:oleObj>
              </mc:Choice>
              <mc:Fallback>
                <p:oleObj name="think-cell Slide" r:id="rId12" imgW="384" imgH="384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BA3DAD-9B34-4D4B-A195-6203D0A4A0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btfpMGChart74790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cid7dQ+Kub8ulUpaRu+ZvkeQKYThSehVAux+2Z6ekEhlACpPBIDl4idFwS+LkSsnGMah1oiS2Cey6I95pkYD4uyMV++L5qaS6HjHU4AZ6+9wui4UzNplpY0bvJrs714EuhcgDYgGzGqj9yajVbcwBs7UeFO/5Uyh1UpcBC3Ws7GIJYePdtgVyaWeVu9GtAZCZX5qodTEyy6klZ1e5mXC1+Zl12GyoEu+cwIjARK1p2qfrjzwEBzwdgQh2xUSXgsmHNeQbXQER9MUQucVzYPVLUOABxi8aRBC3OoXgw/7aGrXYkqkpTiGwrSD17Grm/9SeCWUNy2Hgn1W93ZWNpVdL24b3poFj+sY9Rs4WcVvVJUUFjEMpPdYQplnrejQx+40WE1AK8OGSTr1olmGWWImoPxMcZlIXp+soH66vHtKKvaoMLdH9KFQ6EI0g1FcTBzngLUFF4pIGmLyx6GBi6/VwewEfIloIzu12CyW3Rgqv8i+KzeibqaxkKhTZdqrNQNsJzKCjYdJxEkBo9nGrBVN8aKJ5JpaVmvwG/esZXTME2hX2u54vQ0Tag9GpjLpLMdpiLgGit03wbNuNLmrkUbgWZ6ZGQynwlBEpAdLdVdWlCfbwz08xNffsCzkdL009f7zCpHbJmPDmgPnhnnazN+jjQnkUNJjBiIGZ5bcXHViqKMwSUJZwluMpqBJX2jkd+FqxUJycUN8pPa9odoAyaOQ/CmYZyQ9oKvEMFrmgeQTDGfpuTQ1o5Hp23rfmuDTOB3a0PonDB/bLOYDF95y8XHfVmr5ibMFiB0W+dl5pc8VnY45jepddCafuRkSV3FphKbgHaIYTNyfjSJspiaE32ADzhy0bORyRe1xFIRxowuGaIlvgPjuudOo8jzr51Jhr3rei+Wi7/wmm20DK4s96AtxXguqcuWfbuW10x+UeYubMIg/wMSgtf3qgC1kdNrPbqouD4wDd9r6gK8hmYer2vF8ihLLJBXuwoZmzrGrpXkWS0EsSjvXP6v485FMGcjTbuEcg91vAvYvJ1Itdc4MjLmDjR7+o8t/Pr9TtcJQfImz8ACNE11HrnxIhYoU681eU4txt9To53aN9ndbgirtsDjpSIlFTUE6+57v5AeOk6s59T2SfTELWgvBmCCykjMTDPUJaoavXZGgq9RNFvWpNkTo81w+pJVQdoY56lwhjAYAad6Cxb/VYQV8upIkIXCzc+wkr+QEC2GvyUvHv0uxp9+KeXgPxZu7MGrShAU/cAoMcCPS3uUFtmvb3Zr7l6dNm7iYHf6OkZWxX4rqT5s4EQ4GRwUL5uVMmrKY2xSMsoI8nQo4meqH1M65WNmvC6Eb7fiIBWk37dmgj2KOX3LMb95itHJFrFoYR2gvSpOnluRN7axJqBNDwVlJ9pw7raSBO5b5a2sF8CfysNkltJYkQ8+H+0OPKmnmRK6rd2mnmVx0d5MerJK67bOOIpeWfWQ+3M2+q6LOgsJ1TcMMWMglM+jsOaFPgt2KFvozq8eR01f4FWXXUqq7smHahglr/pDgF8OrlbDiKIVaL7+x3fiaOsX/hCrs0xpoqs9KJhtsLQ2rTRtVdYESgvAZEyl5qfvN1XatzwTk7v5okyfFwEWD6UkikyEJV3EDgYujVWyh89qYrc209vL575seyOCQHsUDh2xRWOT2nVBoJrppQTKegvEZKlK1L9KktRdFfWJYtG3tVIRszFIKYvOzq5PZOW8IfrzUGTt6WlD94fgliFboFakOpdqyjBumFAS6f1fafRwDnjLllk8sJ/udBp6sEt6E7+kz1aN6APCfHXSk17Yd5Emfb5yojGpZoszoMlyLB7J12NlMzEgaGpYYdzHMXmJ/YXVj4LOBlDdVPe0He6aybEWvtN7IIzSEciJGS9Eg3QlckyhbNWEWAbSHgGUUnJtFmu2WSe0C0LVTt4PufYBVstW0LHbkD9ZcxMhSzLoczQazi1bZUCXJdDc+U+jM3AWpF5+Jwn8DPkBFd0lv+/djBa+aAjaB/qdozTN80T5Nz2xe69GHnEumNNjv/SuoUwXL2hdVBjhqmVflMmM/H9f22ksNPCkAirx4TIA6p4BxoojVtrxsL0CMqQrZPUhjb0CgF2pmzpyYD6L0cgarUcWCkNk3i0cDZcd6OcnjhlV/PVe5aBDozJpaYKmgIfmJ7EzgWAnsbNmTHKiyEFyqhAfX0NUjOsa4UIfI8n2mEyQw0U7dvppZ5/HVwtlZpb5nTYSN/UG/nwGkLiJyQtrBZ4yJgb7lh6Rkiq7am9fMrA3+7P+wX2Yv2UzBDjtFAduFiNjOwmVcnRuBzKY+h/4Uq3bziNgY2iqr0dmpqMsC3ziDMnVX5hF3S39pf4XBgCvUwhvF7+LAmOAd1QdrsXqYoaXRRS1hTRTnKNEHDFYYShfCSboEdsty3j6+QAtXwZXgWRvfelzCoE+b23RY6trZD8+NqS1Q4e6+iAxWpsXtZhBX3/i8nwyf7cAcTfP/t7+Dj2D0anPmi6hUHVGfv/vy0zmFu3PtbIQZnCOARoyreW8/3FYmfjIDdaOsWedkwyKL7F+1Dc5fHwT1HjCL7eF7nrL+YREfRtTYVMjEww+iY6JIEMjqQlzj5uPO91fP7Xw9eFBtcFEyp+bUsWQ5UzCB2+iTvD1ZjKpF2H9YycHrLA8YRDcYtI47iJmQwahpja89kKN1/fN+x7KKFHs0PJVs3vcT67hKku/zeDQe0wCLXiTUwxAQbxgyojUBGKVx9gYdNFnr0UITAaYDxgwxcaN6EEYA5uBT2yhu8FnqIajnMhrrRvpjkYCbxfqNkGShGDKsh8pyeSwA0JVw5UTwyKvzdBRd/HLR8gK9WDRP8CgxlJQM5q9HZbm7d4osCnpSbTzvWWc23AIwFQV5GicRE2WEVeTlrDqyr5L8Pq0kR5HBYnWwdPM6l+HjHBPLtdogKXWD7PHAWHhDc4WgZe9BCRUhnsfNDHA/k/5T9iq30j51Z00dnK5ly8wykF1jq+bjM/0xPSGzwYsi9a6+b1RLa3KJQWnktW1jY9kdzTxfmcQ7V1Fen88Yl5kY+SwcwkQ8mSExzvfh0k9nbQl1qlIxdhh7bRSGml0cklB8Zn0C11L5RDJBtv7+EkMoSHkcrJ8bTVz9G2d1dnIAlAGaVZFF43bzRe7H4ixuRFGKyyEtVdWgttY5799eD3G/HRCtGiZUCVLnI3j5w5gp1uTPsBX1rZmnJsXDYUzYxscPcVPLCIsYA5JIH9fr2DbugcTMdmpaxi+PhdnPECFeEytqKMXJpGmIJf+d+Sx41forRmMwXDK5EHU/WJUp3fhVeSfuEvlC8y/joItN5i5+IwP+yFjbHyLw/S82g/oeWaa9Xw1KsJ3ibygrW8P3FFT8jTGblDXlVB6vsJ51kB47jcW+nJUzF28Yqvp9IMRxSHcFHRpA0TSSby6edkHgBr/pZ9OJ8J9uhf1PQUT+2609gmb9/ee6ff0IrJD7w6JG1xkT3hK6+Gd5HdJ1GfdNRVpWLWNl06agr+6uLVvehL+Xv2oKw4zGOlJNisg/kk3H8qeF+7M0qLrnn1uPu/NKJSXO4tFkZwrj+r0fOrKarL8mdb2vMOEs+myocYyMUESvOUdguLc4AEpyXm1JHEdIYhphULOXO53Xfd71vzec7cILHhjsZApv+JAgUK5AVhVLIgJ4mWHFpk6B10T/jRCN7Ufs5qNBoRL3tneWeTAvXykFrDnQBjbVMx15DqvoyRdZ0y5YyZbJ4TPpm4kDCNRT7tfc3GdaZQsc9JjXvMmUKc6TXdWLIjDMRYiWiTzDYshKz9Vep1Y652E4AHTY1SRD3nOqj9r0HF/nnbU5ExCMRe+zw/G1dp5j0BndB2QGsbBkuRkxbYy/RbuATehaXGnnOFDiRYm1S9WLhXCVtB6yYIUEBJhOn21C1NSNA28ZucZRgaYHsk8QKO1uQRP7o9oV4xjsdXr6Bs/xPvc3OIUKM57L4p2TFapX5ZuBMt0nc383ntUafwIEUX3PDfCCNItuJE/nOotqL+pyERVUqWoaTlqKf+IvB8lMx/8q1cHJHGci7iqKyzbdk1CYaoGQ39jx45Y2CuIRfHcSS5zcAQiyg3aenY0qex0+7fEOCG/otQ2M5RV6w4r+QLqs8hqGHHrURhOviaZF1jVZUAE5VP88YrHZIAMPTb4SBOppuYAij5uANY1sVjmu6KS2xY9qO9OOyrhARTt1tyiy2QjHglJj3CTjd7eLlkBWrJbbEDEeRIn2ujLFgPzNuakwLdazbCD+4UXbPhBQePIpdq9Y4brTzS7RSmzqU/Zg2p8L2a0xm0VA5py2FOotXzg2f8MjB8qkgybsilbNsVt7hMHROZZoTg+LZxXUSLhsSsF3kTyv2JaAMsfs44RZwmNumIOYwOXfSV2cwBUrLAatQgjv/a+utzot9EvkxzfzwGbM8bRtqwGmwqN2YBKTzMqVFp3kg1h7Aq2npntxnJGXFLLwSry9Xciv0EGkhQvYQGfxMq5iU1zAhbiIbSLnS/KiVgoOdVtyvlXHJVI1WZ1GWP2rn3oikQRwwYoMfDU/jH2oscyXnTLRodo3vJ29lxSbzL4F4a6o12COHyfNN6xgk13ljF5gYuMa4QxjIPkJL9X95+wh224T+f54dJ+PSUU4wSHbf7tJBk/i06zQlzY7Zzg5NvvdqJGCjyTYMM1+KZPKA8ax/PVELZjUaa5u4fTJmXR0wR/KLSwLkMnE8dKzH8gmGWSHfJ3r3uXiquXgjGP0Q9p3Fb/o75RW9xBrWGTCZz2Rm084A2E6SOE2X1G9KsMlZD92BzXGTKxlkW3eINpXMCFOiXEqKs92Vib1/Vrm2rKZYaUY4TWOH5gekw1IstcLFUR6PSOyu2onk3RYD0hO/tlAI5vUkOxx5U7i8QsOKAaEJocyuZ7NXQjN2RE2CjOM6gq7zQ/896+z2I9wXo3qcH1FsZ2pHumyPMHk2t51B+fSw5eEE/t1hcPGBWzQ/jnojnK027zTeFoJLQ5jFYZhsiotjQxFXh/q7dKWNCb4d+fchaWo7INZDROie41JN800H4dEPH1kQiR1ol8LHYx0f++zKP+6h3DmRVctmczYHnSeln8UReLUzCDscJUyjS0xkBR1IyklAIoGR9rPXxfusmBDB+r75ubH+y5t1xYV6qtMTun6ghpND63GIwtKC5uirGHqtesUhTqD/SPasWeKvKdp2uYIjNLklY0WaL0yBTQCtIwSrVNCa681QunSYOwlYjaSJ6axrG1Z0kZa/6PvAQX/1s9nQjQyY/4ieyTQwnhAHD4TWZ15438dxA6BahF924vGKWQTdCH5Z+p03Epp0hqsHEi1ASZlQosQMGylHbsbahCmvEhhK4K0sZvFODQkzAcBbxTe4r723LbLWIxRd4GnJjUrWW5k2hkGQRyyDdslQCf6lhViRUy/VoM/OSUhcRZHWQRzGN6zu4jTLnYe33Z5QCjLPs8VFzLpPtLtJvr8+SBWzd9o2T/YPBqIklQ6AnV7YTfX5aPiMs/WKktITkFHRIVxwCCyFmSIrs2cL4j5HK0NWAQzg+05B1IGLWFXo4DvhZ3ggRcwp2TpjiP1oEKiaju5S2tKTGA/AyS1tAzIY79jCvI3xnTiyJtRZ3x2UaooCx1WGH1whB9lbJzUPuq9aXh7Ow8W55pdLLE+LQXxBp8+0BlK4koq418Lfv+qVYpEU0YEd1PJwFFsv0XK7iBBlfsYS03v+jRmRoLHPJvxo16PNJfBRbTboE+jjM+2tGGC3KtrhiFOvhKQOqfRDnEqInwyZTw7cSDcnkmMY60WLGJY+KdafZvgEmnuYmyXkTj1p8KAGSQHZ6GtieS79h66VWwAkpUEdTqKXLfDx1vPV3omjN4tGy6YcxfgIGrc+/I3zBYDrHz5STJvwEuekye3TOHNzTicC4yRj0CX39BDhx/B/5ffk2eN+KREBYhNECZsK6gIz3enneHeyQdNMjiPdVritD4JLMpzhetddDae1BggxCZqYUL3uL+DWRHvRWacIX+sLeA5enoOX0xk6geT24D9NA6XBE9g+SW4iGJtxveeiTMY51c+D4XQrvUm25ky4hwVO3MlcgOpAys7/j18a2jAVGmmygHq8a7zsdof3uE8joD5j8qaC06Ue7fj5TEBb4+x015niSXMtAZWBUj8njoSJnEY8pdfODa7p+eDUPN6CeuAZ2kmxthttfbS0gYmUjBRr99TbiDkNTvQRZaRrcoYmtRfoqkpEuFmtbKYNgdU+QgGeCGWeXtkRZ+I6V1BJGXTatRugbNvOXI3JX4u9NvPCHdXLCrXZHCZ5lL98VVIkzKuvwZmeF8MvUWbeI930+34B+MdO9W3qRX4DyimRSTHdLulecsL/ZiMhawn7aOBaSCAh+PAuVKspJdbQTPK6QZtxiKhMoLHiamlV6ES8wLuMnnvPFm6ex87n1u8x0PwjSaJYQbUMQklIPpe/XaHakhleLAnor/V6tqlb9I7GNtIjnNdl4Hj13WaZj74GKkMecOTOxajhKhkjFJZzllyIuQg47AysYmWg33G6QaolWbpLchmQTe1NdVyyaJJSUncFsYAunc03LVsyrDb8Jz3wc8GZRfraI45/ykCXe7SNkFk46pRHNxceAJAcDKPMyUjie0uR+MoPzsWVlfkyQDx40XO4OTSxwihoyMLIwCBblv70nYHnXplf4hZjJq3c+YTyfjdvW7xfj7SjswHAH48njy/ltv92Q1t7kvUXwYl1KeaYQIRDxhSMrxB/CiJOpYib5xUklQel7jOzY4o6mwhVCHYnS+IOtkVkxrUyzYJoa+6ZI6amcoIKf/E+m/Es8lHqLQmQmbrCHH4ZhHvUdbzWs66xUIbBROJiuag+s8SKW0FfMTcmPtj8twj/o4cdJVaFFOxL28PxOpGPT7slqDBWFEchHGU61jaN3GDT8zcJfHQ0rYPD1HJIt1pYHM0OPhVHaUCVVqXE5ve/i7q2dTExcFOuvD8PAaWHZt1E12KwsbEBzlc+5HnidXhI5EHFTGgdtJDnnWLuEpaoqhdZzMmZIV+JyXuLYDetw671nUHZIY9bx5bd07pPoMROjlzA5tIOHDeJbs2MvFvTMkPxInRUQUQA5MF7Tsy1tnzCF+dXJlJN30GXxAgMsHB5gMYPX3Qs4F1YGxc6GNVKHKiNmPZQdr13wnCzh69UDR99sbTzx8QluIJHhTTr63qHiZHAHixjA7H6/L5wB6/TIYU7Ghv9U26qWiFGPulG65Hn2vBY4ESxC2uP6+geuWkeNk7lR2oiTAg6ONUfaEwhgY+W50U3o69Oa+9+wwu82ft+5Ff7rveBq0VuN0SZY06axUsHmnZeSA3VSyPD4HRFfMg4GpX81zrWl99Nh6SED+8vqpA7ckBigVfIRFSRkIuRTzG1P7uRNi1/IgvzNyY8comAh9i6a1Fhco4O/RK5P0JR1iKzo4toPrejxNq8WeILGZzduOS+hDs3SyJfiMo6kuma/IUys5GaCjUPBZC0zrDXP0EmGjX2nBuEIirJuJL5JhvP79gDWE4xipRKay2KuWefQxZyaSIAhd3t9xK9VzQ/t9PDc/i0Hck2rgi1RNrD9zAXUuVMdDO1GDhD1whiNOLqRIrPVwBkDEG7oqGY7fKFDOHO28Tv0Xq4hN6RBQpCdLEpClMN3FP3rAchLhyBMP2dSovcz3OD9j0vehRkkTWy2GJTttayhS92qkcpN2fcLQppQCCjS5mz+XQR2yDBJPbc4FtIg5A60oEySu0L9Q0Oof17xlzf7PhJhGlawCPyYp8oG9c0ACmfHYbYvYkKrzG4WdlWD9NIm3DnfLiffoH/h36PLKrURL54uSn6AGZvl012zK+5nPFewngTNPLbseqwcACoViorf9T80Ji3131rYhqmIuOZ556VKdAN2Ufe6Jti+b3ZLTPNyYrMMdziN1eUL2GuVRNO6xVlxLvtvuftT9+fcdzTmYie5iXPIVg+5eBstP0zEFU3PZFudBZ/f+X+EvDm5aK63jzj/XCNNl0zFw5XulcE7F88zcWZAFPt8bnHMGChu8HL1HCvDKujQgVckuxtxZbOMwsI9So4ZwXlR0Ece/PEHp0ltin/a5zz1X4e0Py9GVA16+K8ZVCbduDFsiKl6gikgQxk2/NyF2VOYwe7/ob0C/j+dYwRuyIDS4B5PsAajjZR7IBk3JZIV7tuveqVgW7j7ZMIWN1vYjlaWcvuKR066KrTREUWF8U3nw+6AniJtOqWLZlhisQ3CNaAeEVm+vc0A+g9YOdvnocy4bL/z4LAY7oi01T4aCSM9bbhrMhqVANHE1L+YQz+uQMQNPK2ugTGUYqJE1jazxM+EOzJd137ORWEMDEHMkNBa6bOrHjsKRt3oUml6bT30fR6vRHeFUO+3YMFP610QzLEl9iosrZqpGRlvUEU9qQyDGoG+t2pb/Jc+MJQx/otdBIfKyM9Q6aYqfI0Jy/d8eK5bed14tLM9kGQGxyufNOCoGqIZ0Z2Xg1J79K6dVE+u+1FSEYffgLr18CoKPMPGDZv2k/iO6NtnY3FuJqMocSRgEGkTkBl+Y2FaHlaPZQczPbi4IopC0y+rTj7u7fRaIWBB+I+2aEvppdZEZvPTblUPhF+BnyxEdL63Yl3VVEaecpsTWxLzwVRWh+F4B0Wx4vXHaRdW8MuZMO5SzSg3Yhx9DqBkeLTMQ6oA+xAXc2XW273gjZfg4aa8D/zvkZ29i53xrnbsP+UkG1xVZIkSy8N1RoRZPceK9mmBgsO9v42ttypWJab7UlEXDcxK0we82y36OsgqFmdNZ8C4m/OCa+p6o+8oo7T+8dE+817CyE3K+kdVhOF09h7cTsoaAxA9sVbHBPU/9p/Ufoh/CHfU6R8ayOF52uPBmJldA9tsF+u2fS4OzZDl74z51kj9b+FZe4Mtl4zPjWqYuOdan+w29sKkPk9fivBp2CAlKE0Se/1fbQmAC7YRIeu9VGmJQGBuifb88IUTXuZRFWDRbhRit1C8YVtpZJjuhh6PnxWw3+iTm+HqzEw0my5NjEE30OfglYfutcVWYwXkcdRj2+tR5wMCVZbqJhVF+fSoAogl1tr3tfe9TnT8CTb+7XFJcNwlIEf1NmxoEjQvVRJlAsyTIz94vKh9ywwzKgRge0mscS8d70NcqZonWAQyWxTDyqIQHGRFctxrfaZwRdG4RNfEVV6kpwli5JO1Ld4aIy3Cd2WljUtXJTXbxHQwxi5zT18/FqFg1kDTULg0fM35j0wtwOBcw/+Che5sjnERvTMvhtMRwkace2uwom2E0go3GJIqcx2q1npkDWlrkZDcgCtQx17FS2EXbkzWQbmrg8z1hXlwP+EsVZ4JHeUIrw7bLUAUvMoUwBZ/jL0Tv0i5IrFRHE2pdNFf6jMvZFLchEEYHKIb3irCC+s/CU5yJHp6ZVe31fdLsWjapVFvmS0NrftmYH7RgVeWjDgU+LJnysqBndP4g06Q9lSQO89wUqRxVWt5/aVpYaVkn+kn0cI8bjLxfUqTTsmzjXsZP5+gvEAHH+Q9x4EyT0258A11Zlvk5sf27VvK/kiOOh0SWoCt0104bRjXVaROLZbtmJz9EJWGWSXRQHz4pKRjgHjxQVE3Qkz6e94pe96EzGTYMzzMum6BFrWDNwnKlXPVPQYCNYTqdZvcBxGYO3MiSYRVI9DTpkCvBwR9RvFcqMlsmbWCEmHMQN6xEbi3+FiYG/+VJs9MPY6c5yL4ayZ1za6nX9dIXQUyGhAmJZsNzgcGhUAQE8xQUKdRAUBIjmr0XEvC3SAh5AcKDh8y9I9hkwHQ4Snmd/Frx216vCv8tZ99AAkzV6623AGolCzDqRBi3M64CiT9VTqMamZaNlg1M7pmQru4u1XskwufOZCzWIN3ft1lsn7hFANDE1zYDrTeGk3gSULiNPE/mns/8WB9LMo3gZRvqadZGhDdgxc95Bicsk13MLDM6Sw5/eM5vXlN90MeHexZBM4eP7hUMc0jyyfHpxOzWfZk3oxf7myD89RODrlM60vLeazujJLYWtN/2Tp++rx5im+c/E/NgMiQJBPrpXuM1uOVwyVmchtbT7rU3Zne5yIdqkHWr7K4kQ54NqQpz/MnvXCGNgbXcfNn1XZX0242fyE7TaHNQV9ui0rOyLgFR4M7PU0BkZrwW3ATJjjTt2uwRcwMW+jEWHCg6HelUu4UYHtNK/HVE4OJEobdKCTmAQnWQcFkCUnEQLD0vpUUH3DJfENm19SaO92IgmbcFQQm0xSTMjHdFk54W3GwIKUjYI8DM5MzJYbn08xoQ/E71NNce0ya4m7/glr+9rgixvFI5s0fCTExZFpc02DLCT2WDYmJwF0j0YuzbaYR+zfZVU4G27wbHNiXgM/Byr0WMSFL0mYjme5xvZ62Wn/V73WtwHH5fJ8HrJR7oL7+8IZXcUrE3nXzEq/zQltqrXT6Ekd/hksu0kZK8jYbrJG/6HXlbPnecF3ZV+0DzvTBMoylZq1lO/HYpA3LZzHTXc6/fUlc0TCasNHayJdr+tIfbtSsd+Ziax3eNGZVfpVKzSSrGL4VAwH7jLIjLiOi13bZA974twRgvrjA4+cN9Z/hVr5yXs2iIFyfLkoI/RFbNvselmSHYodScWZZ5iZWEvy7D/BHS32UTCF7iqJCxlZqoZHNydkTvJw/zQTnaOxL747l0Gg3gv8XdFMNO7jbtwxKB6GLhgteJ0MEI0jIK8ybpDpjyBARE6Wmp4vZDHrDZDgHDuDx8w5dHqOLRez1E16ljy1ntaZtKAr/YHA1gj7ugpsGLHzuNPoWz19CoUxGl47GsTm4cRe9SRfldgyBv4y76rQpbJB3R/EoxHH4EFfjozaqpJfYlmD4SLMvooSJp0MR46KoOenAYH8WVLmfU2PrfHf1ogTFFps0aCFar94VtvUDVFR7syWVyWTPASbsteYAXkMWEaTTD1gNCOl+890v8i5Ab7bVjbCGaSkifLIKE3zYedG+efAL8HxVcwOBcrfgx0/EOo1JZFRguGQr3MYz34auXufW4Hc+0FkzjWFvmioysLMkC6Y31Jq3iJnM6JcHkCZNoM2dFoxMZL6MEKGHU47m5gdnPxj6c/eWX+FSpL1cmKuXFAOUjcw5cA9+ha8gC2pOepPF5VoAme19ohTZrQZRFgaiJBGd2TNacvUw/bJkqeXwhiMeW/HERq1+8d2VBYN4YWgjNdbINVO6RjQxnSweilL+K9JG2bZxX+hZZyGDJ4AjQAx731SauRqb9U9f3dQ/PVNMlihsUAfRhRgGTgtgkzPwu+sjwVmmaGC1VLNjWWvd3lybPtHit8BjQNXw7zm2uhuQwmaEZLIu1OzhlfcCGEWiajHjQlUUs9fvYb6pGz1SF0FxJ5ZxaA68OawEeKVwi709LVfXBIV3FvEQrhVsIayUCCgL4Nay97A8YlNTExdiLXCZnUSrZF2TjVgQ7WwEcEXtz9nfttG4wsBEEGAMh9Yl0LTv/Oc+EHdzQTeXL6IlEUKV8pAv+xkXoDHyEOGsW6xKdbZqZOkvUOPiaok7g5lQEDj0yYLTApyOt5V0bceNsIOHhKQz1VPXMgfldSWixFVFmSLWoO5lZHKXuJJXVRQ+HeY77g1/mfoaOVir8FEURXVMOkukywKi5Zgue+134G/dFtbYsOcEnRAYxJtRr69y2gY3LeRUFsbDopPEBtI80VJH4wpLwcXvS31IhOCU20OPuS6JBfetdGgX4RPWDGCQJth77zZ63ABy2AqYYXErpseSsA4dnaAGjxTpbghKdM/CL+nSUAL3vsgtj1kgQtN14sK7i/o0tynR56fq6+xERbVcwaZae4aSGN/M4o11lqtacm51kN84G6y51tDBnFsTDwCDwguwn/dxfmwGpP8VlaYSg/j6b86DClUXvyWl/I465kpwFtY5kkbR++d4VtwECS7oOpCDdRsHT8zmrm4ndNzL+VEvdHP0iLD7iyX66aTqLtlkSgduRT8+5+07R6McBmA3WX3GkkdL99JJvMqjKPEOkxDxNJeQuz4KszGGKrkfPj91zM8S6G+006BZsB/jjNcf+d6IXOzDprIjXfPWeaG532omB5b1tXqi1G87PU+0yU36jTx5XsXrQs1qOVR4IzO6861EaFkfIqksyLSWQKSxjS6IUIo3kOYyqyv88QeFtuFSDbogEpumiVX8dB9a22bMU3Vmv1I81+bWn/B9EqZgQ3vG54OXJ1vjodmGmP6iyhqoje1d5rpkn7IZOVa/+qNtxiZeroYIewhb2BgHMYyST2261bjfc6tKELYpcaOyn9jTPOgj+EyYKX8X+CR9DJFo//9cv/+3wRzdOBDw1bgctvzZ+JpnvpviFyTL9+lk6CSoAjchrehT+wt3tzhpQ9kjczuSMPNdJfQhJPcaGkGR6fn72uP6lEq4jd6LuSkLiSMG3FM0rgc7Hd7DIBOkZa6k5jUmvxCVOsXTLqYakYVmrtTs2XzczJS7f6W+XBg4d5p7UkV1vlkuVm7TCLd0dIzNNi1ZjcCmIUNplHH/DgqnnGv/RPEfLBO5MG6i43kH9KKFzDg7Idl9hn/f6NVNbTSB7lZUwUYTiccbOT7Mm9eoxt5MIhic38IlwJyBzH1UYHSiduAQQwgxLYvBl/lmgbFaP10TdA2+6RhCzF/qGB04d48pU6jM+td8+hAzs+Ov15p4Tr2GU83A8i5WduxRmI1R0mhodWHqCbwZ9btLo+zVuc/jXPWjLnKyHG70Dspnau5QLJdq3XMuRfHhKH+MGL/j5UkKxLRdTUhRxGeldOrwWfdzbp7bvEbFrT9+MqBdvrT7uZYbQ5kVaRaQppThzS3bNqL3+aheqVwfXSnuU1D5UAWl6J6SOUvsfC/irXBsjPai4h8U1fjUGiDIefPfSbLNvLuB5ImVlJX3gg/j3kUAQpnfZB0gVBFoBxwr8KwpBCpY2dt3iPGjsPPp060aVSGW9fd7Q5lWj2Dky1Ep4BOPiZYEmEYTcjg4HZba2UMxDuh5CX7bYXh/RRWQHncpfq0WUTkyZ/7WW5dtoJ0yyyhfpyadToEhI0VTZpI/RIkQqb+XbcOdxYh4Z/OXf+h12+z+AOt+sD1FEqOdZIyVCp3KP/+W2Fg6rW+/gkQAMPkBHfbRoeQAqtlv/zcrDOZOttjSvDoqZpkvnUNiAY6hohCZUCIRusubpnbFqWmfMnPnxBs2PODPmwyfiHPwUhlUkyHyMqj6IMgOLF+3E0GunMKOBVe9q0Yars3F13VJBsqpSBFWYQKryDVr6CNi6kyIlfJOuhD777ZSslC2KujlI/+uq4wBMSFdwGFMG3VJjCQ1HAXMpVpOGSXk0wk7Nx20BKx9FWaLAunI+fE641QvI06N62uhnJ1omlegtF4p+hyn6Ms927FtTLIU46Fz92MW4TjtsNZh2ASoiurtcwq/u2JU1iFRfsZRQcVW7VOrPry4VNYiFPlGvFB5GWmJWIHhfNlqmpviws/6dNfXDr0kvxZB95GSjRV7IKVGPfk3mGQQklsHB26AT5NOxGuFF8zjq+lA3TzcKCTAukyob92to0lN/sQ8VTHvVr74tG6SJVurHc42SXJPEgUVWi8sgrT8bEdIhNoizl/RVYvgo6N1zkjzYijzyXIdEF9VEoHIB3i686QiLzNDigdWMOKrDewZhvkQsAMC76SXloqJpVmfZEpwrbvoyq7nPWUmtWP9yoJLT9YeHYDkcCyENhobVPmoJOeO3o1vSlJFOI6PRfv9PNfpaaU93Irc/AnWX5PynPEHyyHVWTMbkhAc/T5GQmAWY/Ee+DIooseedUQA4ntmPDTi2KkIoMqBLakwfWlK+/LaMPRPnlawI5kgB+8JtRaKTYoUuGkJwsqjR5NH6nWgFGRRLhWnf9WvZ7zBL7dvzXerz9Rhv3GjQR0uTrSe3L8if5qs+fGX6diDFfsQVfzrCEM/7SnkX42S5HeR4p8ci2e0N9yP4maHrDTEfzplUsie/onYN+3LoqBOf5FeNWuBlQpBTS8Km2Rd7Vmxk+4cC4YY5IgDEccByjpP1LtUY+H52ji7bgP3Uu//Xygo4O5kHgXiG2V5D1epoD5dy5Qpiuce4WZT6yyZZynBC+omVmFZewLvMyniprQMnQvDPtfgkUXsnv4aqPv/fqnFqqK+Z3d0Ewg/KA0hCFpaQEuszJ9zQCVyqJ2P14uMo4f6tD9Ijij9mCkPHHz45nXl60OfbEfS+pEgEkC/JFWiBksd8E01Na+gSMqy5QjzCGsrIGlId6Xj5NEtuRailxnE3YUpPHYYua2+A5j2ujZUMD0xurKBEH62LaLapHLm0XCQKlbWJtbE5zSnlZ72rCMqb/a6I0D76X4Pa7pHO+x5CttLqL03ins+AMO7r+QPwXk+clcuA6ve6MydGTg4oy400bLrhRy6a9BtMejvDFsuXQLRB/hhkHxrPXDgdmzPUEBWCYwHbqf74BR/pc5EXbC6iO4AX9Ckj0/UoAHcnU8qsZmxmhoFJ6dC7ZsSUHUkoppUqpJYCkft+KIQ/zOqfPTq0pee0D1UsK17ZcMIue9Jcseik/s6x8kRMzuBge8Pmw6wUxkGshPpAwa7Uuv18qHG0cpZ9NknB9bqNud9nNiZIz3rGt5TOwKfBGzcXmQLXmrFBjl8E/7H+YFLA+ajehxuLDKQMVeks4vllVLrw2i71O0NW4inMthURayYKmuaUVAhSrSfmBWQQBpSnOowL83QNODHGp4p/oaVoRJy+IHKj6Bhgs94R/yBKWNsT7AFVWmi9c+NVnRae7NnNdCIlJidj64y9Eacw5lCWCcMTTvHBXLuzbU/WR/J0t4rxkwEdGuLBE/2o5AkJzrUwdy79hLyQudzhKS4ijTFcz+eZbPqnvzqspJXsjHiMndbSR8tLAhXaRdqaVS+wWmIWgNuNzMAhdG3fu8yUKH5R7a5X8yUe+Wkb4+CtU4qivj5AsZZeLugPd1rmF7Ui5/91tpXoxHBktAbTrzubL+EW+FatmyWHGNA38xSZqxWjYFXoUeoom3I0ZEw/EJ/xqLckmiv08Ro8hol2msTPm47ml/kwFeXP1A9x2s1iyyTNenXsqzcRjHn//ZZdnF+6/CTFcj0zBoxeVN6K4iua74cHSYpZPCUnRlLGqrVVJL2K6ihN8UG/Zlc3w/ed6C43HvrUhFs7eH5AzxnuHtW/hB7MZGD0OjfUX+km3F+U3YAIwFf2OAPaGKvy5xF2k/s1QiGEgV6mwZs1+3cbAnYzVHJMnbmCvLlEVeJOm43g/Qm8JqWR99ZUNpSyXyc6ioI5oGfO+Fqf8zytmfSeDqEHCqf3gkSGTNyyu3/Wq2VjvbsxX/uZbirfvosctqbJsgYU213SFOhUSXg1afH8LHungCd35qyNthw1YnsA9lspZI5UlVaq33PpEMcFyUjCQt0qDfIVEnMo+4F4XjO5ZtAXUJMfgiM+JMqmu/VjQAXzQfiO1q89UArHp/hELeAaxIoZHo9nlvjXITmCTEeEwyvzZ9zAzWd8KBy4DZnMSYrSW6VBsRJfI3HtFxsgPMtgQbzepCT0dFEp8tCPqZ/xgox/dQTRUcdMAECSjifo16+inv6gWYiFfyMkCzZycBcTVhuxEN6SqERzp7U1e4vqn63gaDIc1gSjrA6DJ9jH8wF/4h1cUwjgY/kg8I/L9UZDk0ByMNHBkFgdfTdsPgxmqihU5+uhcDKYJFdBfdlGa9TbIkQBeZ999irDzCF7Ll2osndG2ycyq81hAN1RgOu+uPPYw18wpUA6kLkVBeMOS8u7cvTSFqF+EifVs4/g89TiM+DKzBOcmjwDCc3m9phYOyhvcyBxjSoIq2WWXLRsFWWrp85uXpUhFUK2r3nCuaw2sg6hWt6m2gBP4Mr9cIXvWnzLJJCV3pI0dmjMAUAytIVQSFDo2DMiBsWcSDc2Q0x+QUzvkria4E6PnhOAJTQFywz5Q7nOo2vdfjrXTUP3dsaco6Y2phNs1FO45/Rq3bMLhCtUtSGYrJZwtYKs9VwVHgVMGCrkpP2pl0P5li5TeVaXX1yCeNank20Ias4j5oq+ShKU5ZuGRa1km+qmFhVwex/8bpQI6/bLcfqQAY5l7H5zOpuh88mpwb3vohO7Lkr+bye0RXr5r1IcCt7U+xD/PeYVq1nZI1sIQVAS6Gf7WkkH1X10BaXL8KCIOXp28WZSXVOMWGRK5ocss9p6AiANLCz9lBWQxBkWhEH2vmpInFTTa2GrZsnXRIxS6MqpehFMvpQZ+xeUnvEJG66JZ2dmA+C5gknaO9TlScj/lBp12ulsaT6ryQq8BW4pw8eHh3etty/R5+3zxZqIaLI2Wxxc01RbikwCLsNW/72yMuhySFeME72+RtTyWMyfsummMEgNk748k37pSkXifCka79VVG7e0l0V1vvDj51zr6SeEyeJJwzzIpU9YRZ6dIs0GL4zCrc6xMpj/nnb1V54Dsgk3JxjMEBkkF11gTK1AKrYFVEi+aQ9FdJZL+3cHyvAFLlVJ/Ed3chwloXVlCbnLFhuTJCtogcmOpROkR9XrKn4O9Gq9nFthoIH30jYS6F/vYgRUFK1przIrmGVvvilbS4YoULzUHUChu42z9M8cJ/CmvREO6PuiBmLoayGnJVdOs3kARW5zAqJweMXDlFVWEbsNfEZHJ08qTbJNPPlLtq0ocIyajwJxIRbvElywxF/yscSyxbqML7COR+n6jQjXw4jHQRXMA344nlumcEFu9pA1fSyeigYjUDnzveAhLh/f1YTtAP1ouwj2wpf4oBWpIKVQQkOVa/3yOBztrzQLKSffr3eU35ddr2/pSRdsAOQm7+1PcuJH2sN1qgBge4OKpBPKHVyIXaR5n0oCgRIaaXVaM7y17bIrDsWAb2e/Ls87NZbbLk7jiqxEApJorG7rzTiLePY7aGFbuz0PybAumu+Z7BzptSUsPUIRIk5C6GpF4yT8EKmuiGkEEqmCTQ0egh5cxkdFLAyurznCfCqMvJsGrqPJq/+hv+v8iX9mdRfXI/t08aDgBVcmF7iDro7w2hH+GpcILf4iCk1OYTrB6cENY7w8Svm1PLgXQJ/djM1oM5ihxSA7WT0vAp2xH74rGw0U0Tf3koX49ozKzF4S4+cY+CSUhbOorPDYQ+EQr8nRpNrrfs2d7zqIgWUCDNXjYt8a7C0raz0Y3GFmh8xAvV5ISIl9scmmsLoIUTBr5q2wbEVYveNeIQIPuCLezubv/KS5CazFG+VKBcv8eOTuyH7DRb9/jD+1o3wWEyUg+02nvetv4grxIGRRvxo0uyl5y7jlwX0CevwMzTe7C7LgatDGp8OuI9Tl1s7ivwhV76QnjH6FLg6khhoHxeOS+rghG7E3OwjX4Nrd/mvvRqC7F0xE1+9XFUqxfoWvwt2/SyUTs04CV38fcwtxHR58VfEgXxrH94PRcncCYl6opCy+0D70kYaySNErN3GMB4IR6LOycL3bylrpIgFKd1kVCHaMik9GpN0V9Dyg4NSm9weFdd9hO3CsMsp1wk49912Y9Hw7Mf30BTOiOTxxdTfttLipL0AGIbiQOrDYcL584vVqE1+Pz40VXeRK/4aTiwhMz6CtcTGX2GXSyaw3jmqUVUMqcB0yT6ZWnT2YNJJGedT8iVI4gmHL7uI98GA/2F5kOiGIaMzSf+DplfgTpNU8uvjc8c+06pvSUqlNkf1iCBW1KaMg3arSUh0YxRUIbo1gZT/FOEYd1ZXaNNo0BpfMj0EPZB05nhppHprNh9BIBng3ISDg9Z6Heem1f/cirLQzMB/mfptaerQjXP3l6dTZQnhNy5rXKZxW/GSYO/PU2phOuMmx7EpQEfJYZekvA/ax/20HCbWKWyo+MSrsEAWzUjzCmLCQbrqccstCDY1SQPZQl2SJJ90LhgY4ZT9CsBoeFUh68J2PCPQeWZC5biUad9S0qlHV84ekCyITsg1RdzNJfmi7lVmts/ukj8SZmVi7fmo3ECKcmgdB3E0Pcg6XzDns/7c/uQSmG2+/FzJ4+052tXGxxaEPo+n0fdEMA7Gu8gWeXHphyWSaz+FKeX42jFdyctJSdtkdZAzlNRE0QxWnWidnRhbvbyA5WMw06SYLQPZkLW8DifIRWmvE+1kjB1+7fI8wKoaI9fBdQOhHz2Gx81gtM+UzCozLX0L2eqbkjxSosNIufVw6467x92/MlpXXPHYRqWFH/MniwfH/Nce4AKwx37ZCNamC5DMdr5v9cBhf6zDK1wkiBUAdGuC7baMdZQz3XL3ImhJK7QdeVq/xhIDnvCxBBnSsE5Ri5D1ugGKy2+4uyM1aHJBdgIFdJYZ7EOV+6R/WLcJ/1quc3LoWtZK4T/n84f10UZ5XuXsw9bsmhXWn/HBdEffCBxgHJn01maQFHGMC8spDVr/5UM4x/dW4LMer84zY9+PVwg1aOlR3Aux3RJEHYZcYjxyv+VT2q0tMqtt6/Fa0/2ApDDByfV3EJWQ5YTvd3SCG5pq8jCeFW2IDC7WmgYz5AxB+XncbL2JXZZP63p7HQp7B+qB3WlDMnhjih4vhD2H7RVQ51WAVpzkx/2GZC/vdfzYuRJDMSa7hD4mgSKdkibIZIRzqt5vLm6yn+aMwDPmkpBtmSWLUlo4jZrC60v+7vhfBrT6vwOYS42IC678w6UpC+CtJ6HgJFGSWkgs2iKgvs71UdLIDWkbtZHlDjfzCvoocrzHUDgfkK7lwMcvG5EaSXgt+a4mX35D3ngqc/fpHPHDAPIX2daWNtwlrUWo5+79nzJtXhVn3XEQF8qpbtvKSn2CDxCW5e0YRBRb9DXGeXMNwQsbNgvUKBdLY9736jx1eJ9tl3qY1CXaSby1NZBCAWSok7uiMlYsFeJHbIwIyBKjvM79Kfz3Og+SeoYwzzZyCH4O/5goslFuiCP5sPbmMmLKwhNUyi9/5mdv9qIkQqhujd2fd94d3YFUtaq7nUsALFG+euH/LbuJxkKxhILCJF9yxZ/jJhG9+67QHeYSFiRBGY/sZEuh/B8fNaZjlO3+RHzxqsncn0E4/VB0eHhDj8hMDugJafne278hgjp5Pz6b7vp19x4Y+s+0XDP6W2pw2DBaiInZRfCdZ6O57ZuIFp2px+gimQQ0W+OixZ/CSKaIZcgiSzSbDCAogzfcY67Zk5hcVxibVrVtfy5gmizbbA1djonSpT5viR8FiHSqePq3Mx6wmJUWDtDT+dDVsGpWLUkRNsTMamuOhajjVvT64P0NFa04GWnNikuhLVzT3cz83Zanidv8YUUbZSp0Qg+IKwZNMNknAOk1JC7W9M4UE39LzSeYpQCQveGFYvMoT09zwx5PDdkOzY4Y/ad0VVYFx9KvnmkS5z6FgsaLRUkxZJdmeFP8Br/eX3GQorCNPfUC9pb4YJg2wRTIMwHYpPx7q4rz6HKdS0RyqudIM8kUk6QevzF5rRBJC5NCX08TpECWYcnvxysQpRi04QO+XfoBkB/ydI5R1WhJmhnFCJGHCYx6hk0/IdyBScIAfMKZlEYMN4y7nbU1YbeOQjrpVt2dzdErrGb2959Lagqt1u5hO6cSdE5c3tH+9UamuQgLjDW4sRZnHyGTa9iVKkteGy6E8ApaFBCv9XJV5DR1jQFbrDYU4u3bw3gl1kDaMxMqvBkxS++NDQ3Es88hlFUkv8t5FDId0AR2WVIhgy7YSHT85mVtnh9BC2xN2vsZxFRX6Ttu0V4Xa3oeYvGW+0HJy3AXaGTcw25LtBJoknhQrERQ+T6Qv7nCSWe2U4z9mSDbJi+9ahBURYK1Cz11tOkTuBRPSgkKrPovEIdHOMG4kZYXqDXSLeVA71K4uGAp6VTFeI84ZEc/eWHCKJF3sH4uf+l5e5YWqpIyCG6aV/wtCfJsneaiZnglGyiOv2R2hBLg8NiWIks23MVuHi5LxHzBLg2VeCVKX+LI6yxJ0Bi6Lpvu4LXnPLZwCY8u1jwHkIxG60Tor9XSQD/FASbGqwiJy7jg3f6To3UVYlRGmPKE9ZjTLxeLFmkILERi9SWovOdASyHzH+YEqvU6/2dzHZRTJ0iDjxGqS1dOTkr3eKpMkQXySLU3YISgwrIBYlMbC94ZnSNz+RPDsFR5FtSbxY44i661cfeU6s+1Q16qDqeoj6k4cHgpUU4rg3AG7EFur3cvLFjl/C2ZkJCaX6bzj10ddt5kN7PQ81NHVXp28kxp89UbervXs+dRVdp1eIHPx1fGZfPlLDKRA94RyyA5XstR6kkBEE4aqg534nUfRb+82g8vkXK1SAMJHDOM3sxnUA7L6cUOJSfK+ICSijY4G9Qo+RnQxkbHh1hzU4yJ+xmk0G2mcE2rO9eduKKqEUrxGNe2S+3QyZn9p76/DNt5BsHExHmCKrhM8bL7P8GmgY/h2NMUr5dvzHYQyq1uUnfbF8A7MDAAySZv3QJTHV1SG9tNLYNjisNUiCLXiQ9dW2gv9EGxfxGlheUfc04SEWbLMbYk2wRjHQVIXxm0lRumcQeTcHKX0EVXUA1No5QVBnTmqr5bUAcYm57gMkH2A/TVK7rg3YmZ3rjlW3e6dyuTxG689Ig6qFPOeyYRFUsT8mG1J4L5CUul4wbBz/mMaWxuzaQDs+ptqXQhtHmx435GuL3tMzuIqgm8sEWxwr5tY+rnqQxyssXcT3s4Rsooujslrn9+iDyUPAH7buqWoszFIx5RxJxnYyeknrdS6R1ZTqizpnto8NB9ohy7YCyJ3splo4RZBD/TxZJXq5mBfLrlCR8wx0vmh2eivub7cehEypGFBs1zbdrQfFsL8PNXxYoTcleNBfCF626IYYERl2ze6jLY+0Wzw96e4g899kyj58AhtbDH394csYL15uGnkm3q603KBrHB4F6ugMLJh1XUnmrEq/NA+MHQin6AQsk2KeU3B7s1n87h1YnnUhvmi+2qIVgCcVAjKe2SfHyUzW83jH0jMoHvcZ5y88IQHY0QxcPxRzTqvqFpLYqu2sSnVh415KlUkzuCDtnOiT0/pzf09k0lHpVoPBBe0IL+Au4jRti5oFgvhOsmV25sIfEYM8h+NBuqOO8Udh+vZhzUd3PDmt/zAHGXDwgPGkaJT/MUUQWZDFsTEult3Ctn+STToDMdh7AgVAyE1LzAoQ9Pa/B5Qa9iYihSgyBocu+BxeAOYUwLE9RKlZ/U0nL7FnW8NKX9pV6H0nW++Rsmw8aVPvz53Q1mqsF49/1Z6nLsDideHucDvtJ5lUbSarVjFWcMqS0F1DvuiAomzclnA0+IsBvo/oMceisU2YZ8O2ctGqDAfBUzXlzSC3nYUaJm5kn/mBEExcZlK9VnMNFior1apCuRjl+gPSSIZ4MhAITz1jRkswiTZVzI94i0Lt4B34Hb4LL2kv54Gatw4gYheqC3DB3LTln9T7Hpi1tTbhj6PtayBAKO0oNjKB4JN3Sk8XHypBALeJmWkHOk+B8y5yfm3SN4dmah3EY7hZlLaJGct6ph0CP+uGEhSMqYQ38DwGyjJtVy4zJeZvZH9EJfauV9i+iXx0l/wa1eQqQ6grRN0m3oQ9mt+ftsESNpQAHIxpPG6ovt8AEiZ6qYQkHdsLmjMaUvj/L4kLafsCukOGKp3xEd7n51/QHyDRJ9gs+vtwajzC+qb0Y0vyp8yJjTg949VqiAC9j3Vl2Oz//iOpqsJQ8HdCZkwIcH3X7xA62fpnwRzsgSEMn3mmfQ7JpDwb+lDK9Jo3eC+68uqnjbg85opKXA6zU2reHAV+z0ayL4sSV6d6TYOe40MWve7Wnp26Not7HEMgLbXhf6vMtsTOsuvfMlRGOEG/e++3PKFS87QBvysY7PhU/LByHgnNp77N/GmRoJxfGIahil5IFiwTH+T4TcQte9zlNDSxP9oIH6G4rfxu1/KSowKOtuXfKYJZNozyB1xvWKlaPUiSYWFlCM72pC4Aw9NEqT3drEvovpVkowMQvGz0rc95A5FNY9yfN62a019NGIQs/fyd7rS8XywxIA/yi61kU/DPZ89UGk/7eCU8ZOXkDEMPJdVe/6TRBU0S0tGGmpSPhXllyfpIyq0tmT01a7jMyLoRYF8jC3FAi88LVWOKsze8bL2GYv9GPWIojDLDKafmZ3JCiK+BTNIl6MZtZxg9/bvz45QS0qtT1aX+ju9qVkZ6QgjeyncFbftqzONYBL35IV2yjll1yFs18KM3n3nsOMnSUoD5EayayDmiwbCM2vfFYx6soCy9eFjg6rOTthZLWGHFQSfHkAumrh5KF9nbua8P40XtkfqB2dv7Djn6X4UH1AZv6qo9p4hZLVBNqWdWge79AwyMyjNNwknxy22i7ACDsg/Sr5Dj3UNBQ93zoqD6XBTD+zAA6FlwNxN0xRKmDDFsKkRCq9gMCSiGZou7mew94brVUm/hx4tOo1HOB4P+Hkt4g31hZn8jfecfjL/vn3XhxfkRd3ibJw6DRdyMyl7OUghnb6vXHjC0BIZkcgQmG7EW/0qMsEs0Rd9b1bwJDzSvx3LwyK+YkV3xsFGCvZes90yeK7L61ekQOPBbmokLu0CVJ+WnD04lE2HEqeWqY2rl3S9DIpdm4YA9qfDSv7oK1Jk3h/qpCn+6RK/GjF9yTAoADt7yW0gkDxhZYwH6Gkx2b44WncE8/wmKH/GnXswwQxGst/p3qePkJ12GkHu3xuQMiqHbxKf7PLeBI+DWr3q//xUPo4S4zrQQhgh+T8VLVEC0QfcV5hC/7eeyFgSIrpxZKgRqgmHLv0vf/joEDJ+RZTUf8oIoboRzpDjtiGt1B0pqO44JTToudHkK3NUCrxH5FHJ4C04nZLkfIa3mGNxl3rX/jSFLlTrtmSphdy73yJ0kwTaHqCtVjFQn0jUVk9lZzbyPQtcRca7GC3+sZR3GnxLSjPni0/8R3v0irXpbSjs74ULj/35jKNjiHtnZiP+6gz99WGSZf1rPQEfMjtEadj6cJR7NWkuoxKGLHHcU8YoifxycKQS1CCA4oC8J/KPkDlXp4A0K/yFS++q6t8TB1M2//nAokmrXRPf+rnK2n4Xb7QMQkJdJNOtYm9B5aXyPntNuQUEiSWF4sexIj9ur9VxfDYYpv1EOdIi+fWf+/GhtfWT0t3W35XPntd239gUeapn6vR68yHB6wBVnNfmUk1VMDkzduiVIATQoSuN0yQP6KZUtbnZvpljrCSRha3LHBjlk+hNCN+tbgk2LPVjZSI84uFQAPYQUOsIORXLugizXVAqhxWZU+MTTjp58o7dzXeBYlZ+E2K2RX/moXXg7+MlmVYdkP2iH3dA0rWO/1xlSLTH1fH06CGS5VqMZCuKJI3d6hGgUiRiwFHzZf8ioSZ1ItRpqu9SYLd4YhEg6uqgrhoIo6PcdqHjeWEn8rda39zkL/4LhURhObFpt4smw0xIAdAc3RuSu/8Q325qa0CoGBji1jj3ad65/0vA69QVWDlgvYVZN1TZ/02eyAm4YK/wHeP66CIBrdiJtpUh6P0rEwV7E7YZzmbSL3Jomx1HaKQootKeWfL+g4B/SWaoSQo3wLqJbf6xigojnvDNYTcYUJUpN+kSqAsttoD/TW7H9A6FW3Ygvck936f9Kgwkfkpa6JAdZ2XmvNu1WXcSQ7ogJPVNo3X/S6KmcC6EdsGekuaiPt5U5prnQ7EoJQQy6PIGGInKNHerE9pHXd3MxrZnYAtei78qIz+M6Yrqlcwh5adwLsSL0/xNpj8UxI0k4YPCsb4AZlrARDIf+KxbnUInjDXFU6TG8P4gFBkjqzCObi7ro3KVRIPsjAmQFoqrFzVkNvTcuyZvNzCCWD08q//CyWKzbPKnQZAjVLDebsGdqCXtAF03P2edw05iSHyQC4DVcOHvvbmuSpLffPxESPApmPvwnAKhWiY04F3d6SLZ+JlKoOH8Qo4MRjWtxWZU0wWCRfJis0zsorXhhC0lrVukXiUiOsDyx4mJz01+YPzCgHeZKT/6oYPQx8QHceIRLNa1MvuuN2PxVVdNIjBzr9AkG8VGlUjlNpqg+nTG9/c0XuwwNE07Kpb3X5GanbHHNk6jigzGXIHQkePsntdMjFUoa1xgPk1VhRixP3opCMloVn8qxWobb0gMvpF741kPIbcNMCnhgDrqER1DjKqKT1LSNFwNfUaIbzkSlNXSoj3hgyCD4sGbCjTsQpeap88MPz/uwuTtp3IcmnW8XB4T0pO7S29Q6IhEFN5OqnDVPvzOqWIMr5LZshmlcZ6/e+VuWCfMk+AiamhYcBtJoT6W2GkPLky1c7C7x0vegpQpBGaKQd6IPNqjgw5BbqAP9wBWeJc2AZZOWCLPcPa/AcsSBjxuh39rLReUWNxS9GY7rU377deWxXYeb6yjMP2FFtUJnJoJGKPIc6EFtBr1jiWMYUQRcztAF3EQTbLBeySFF+XY2pUJOSaIF0QEl00rh6w8k7o/33R1cV1Fki6Ty+aJFH6ybECG/x10+97ook3e+aqnINR7tO9Kh80BGuDpe3y0sAoEZhmHtROkucE9e4r2CC7fOVK03ari3MyUCoy8vSeueOzMXahXgUPh6wskBdp2obfIipN1W5vAVk1LPZjhf59Yq+2pXCsg4j3/s3Ci4Rc5R3fuGkVGJtlrWnvYkzsOAiJbZKZ4uriG704sJ/pO3IHc6KNWhqbI77QL0qATKSqWItud/OoNlgzaG+XXUhiuIo6AfDvG0vpPn++Xsz7Xg07H0sgKBk8eh2EodCjCZDDUdLumPAq6g0FWRI5B+zEKrSDepYubh8k7kx//yUpigZZAB0h4phy8uUB3bA773hFHBHv9rx3bFTKpx9Hp6fxY846opx9bPhpbzTUJ23Gdn0Fxvvkeib1rqIGcIaLk3ElpcVBEUNGP7g8aIxfVQEp87tdtu+9EIVYGjFcKOU+EaZHyhtdACxPET5ZCk8PRaVrkIt4XMbzx0GW4j5rEfZuRHkgQNwFht9mwxTjOImvz8ZzFns/yHz8bZ4S+xKL5Gvl27074bKmcT4pjdi/iRmjC09U4sxvCxQwZzDKDjW9McMCFjzOP7lzwuPN+fqrF3ALsaKX0AJaVnZIF2P8qJW+R9MDk7acimAw2mrEnTbvx05Ffvu4NMBTy9G3KYgMjgbkOLzC6xYk1LAJvauGb0LqG6yFC6r3htdEneRcdpc+KerSC6IjmwgsrCUPUo0N4R78Pr/S/3976xKQbU+Eu9SzPFRXZDTChd7/9TRPcGuEtKrbquYBHUwV6RAWCIg0vmAiaoE9DSMXOtUhIdTtliKv/OcwG43O6uqsE/hVWbKkUdrVKQA7zvi9eCULLlYGWp3cmnNejKevk3jB/9ayHOVmel+fXFaba2alX0CNnns7ei0bRVGP4NFhjOCo7WtQTnP0mQ0z4PeT7hyxjkusYK8iCJ8OH8Y0I/qC4hsbkjZu6x2DlEh1pF228jFThWty0pd5TVVng4MK2OJxk4IjfzfkubAKwqLRHQ3V4nldIB7rXHrS4hZztJHLk2jXqYyoQ+v4p5sUoe1hn+4D1hINJ52kEbacBR0n4uP9Tpz2wGUON/Gy2OOqzrUzLANcOtp1qqCcCMEoSwwahe1UYIV/kX8xmwbJnPKCR/DeJCzLTJrb1Ee9sKbiTFc32Hwm6J12qH4pW4tV0hHazZEGHz9DbGPEwYMlFM9SmEBulhFQqWaIePmOXYq48lRa0ns7aPvO7qCZQbmFFkeDqgfywHtaMpB30FK3Z9CBsqo/lKvUXzrW2FLzEe6/pc4fArgm1uaBR67xr43encZqHkcHpBK9QGi+1LiPN1C2PeP/fbZr9eWRP0h5e/vRQF1hdmG1q9OLEcnIaniMrPJ8tZmsyoPCoPTYRSWdookUkjJ86Hy3vkSFE7oaDjvW7BD76hrTMeKFnTSlvPxNBh1bak/8PAIch96q7zmBiJdAUsxbYHdknxUNOnULjYuL63mc2d/Bs/YGSXTtIEid0YLJso1UNcHQdLxk3bsEtHvKmNUbWGyR+IohhyrRBEPjgkqn2ih6O4r7SZSYRbTyLHAi1XbWAvNmmo95jBGeiPr7wQvqkjKt2XRDDwKEL5OGopQIlCMS5ORqAscg4japQBShBsciyyQbhzV1vOHC5g65BLDhnwzmYdMZwSw7vSPyCKL73oA+lezooyi76l0Jqn+3oWNpwLoCf+uX/xAR0SmnNfmUZUKHgXPgK1Rgh3+7YirkCfnT/b6Z5oM1ued3Agd9oZfrNR38IKJy78mlnlRSPP4gsccvTrN6rdsS+3z1sWVe58PnafQvogkrXyN3HAItJ2++dduxZYj2TlmOhuf0IKuN2Wae5N2g3TF09a6W7Z5GdJ0qu3mXpL2owyFmlXR9s2BOwMw/BGN+Pxxx8UPHXFc/FPCULvn7F0lRWIDOv3g+tEDFJmcOAbehTAigDVVcpZ68ATv8zSngbOAF66FCvtyMehezsZOUSMXCYAfcP6hD7Zcri8oAFKThbJlHTzh7sHcjd+IBTobnPaPlj+KRi8z0RtLpitVFCVUEcwWmeYc8no4QoRM4+hbPnx8Fm4LdCFLW20Tg+m/6GnZHEClvrOAlX9Hcg/3JT+sUmiDlbvnMLMeAdvfey7Nmb1xvRkC7RTml5qA2pt1fx9TVKuJhiAzThtxzdddY0IgkUBLyiyvVM6nMhyK4Xs2Xx0C4iEmsV82UY6kYQK0kfYWrYWDvIm7cewwdbQlFijBg1JwfYcsMAbS68NTunChYHHRV8L3owfXmW+clwQxICyCLKQubBVrKIRam5NNuD/sohorecuLnAODxWE4nyrHT09+G9oaItnlhzAr7kdku6tA+QTLNdFf4cf9uPYzKlAQ/ahdYc1/qKCgqXcTj3YNOx+5qyeHkGcHbH3uFi4r+nojZNzf2Mfy9z21/4GSi/bf7R0bpr74lNlX9WVYm0ICTUicMJPJiGus0HXmRcULFXByfWfVTcAgEjN2P2WsklbC1+k2IXjEJHsfmCZ0fNtEMGl1X1KJpXVzAs9T1Q/FQBsn7/0MKtQeLG7prc9Ni4fUoVq/e8VLZgXmcg7UgQQn6P1vsa+G/HqCpfb72fywDDEUcoaVz/Ni+thtZz1meQ8CKCLRU/Ev4hfOs1fXUtbS2+XYzsNuf9cSdaPKgHoICsBipCMSPLkI7NNZSpeUk1gS3jUCcINsdfzvqOz47Is8dpwW+iZuPqVaa31J7NaKGxY9MZAZ3yaeWmbPTvT5tHgGdbF9X8xPjgAM5Odwrk3CrdTvw1VophikMP+0h2FSf9S+UOwviVRqJNZIU4A0Kx8o6BEgqMiYfk1m4/mataqq9UIat16wFdSnb4+s8kOQjYywfz7G3TDrP05SpMHtcb9MTchCmzEPGqsJpiCA4tVbBoAPT1J/HvFDl5G0IXk4XrMVuhS2sFdCOMcOWmGs4B/o0qGcmuokYsYIIsHR+dOrUDMXPA2Cz9GHoHtM1D6lOKZu3S2KYH+cIjVblfKiM8PtVGk/0mUb3z+sLRCNXOhrpilveG0S4U8zysj5U4x5PN82A1e0kZdmqsfg/47alqhyOVCWTUxeHU4g9TULRD4ho67ej7Av9nHgZo2caLETr3pj+sGi0ZnwwKvHDx9wM4XVnI5syF23mD6/iBosWIWUtM/lj6WUwdgXYvrn544YSIKBF9VE8N3+ADkAZpU5kCdMis879GqA9w4eUSPkUDiH2zsI/3mbAEHzvqx0Xd9DmAqhIZTo7VCEB+wdg/fe0RC/Pj3/sdKe5WjTPNJ05PJglQNMbi6qVZsuD4HaKFVad+aruUgidzvMxtrwlIl7iHgTReO7lzE07+WA0StDzP+A3Wbs05JcMWWMkeJmCB5KKeUSpW2JHydka7WdSEKNcqWrW4upmQAiYjxbWhtW7YbGDbe52swatTaEKeCEUqxTJVURgi0zVde5ORzsaXdbohM85Zu424PMWn1RxeHKeerY7lPJPrxm0KZHThH2VV6GjDIfDxFYe8Wq1QvkDXd7ptTa/H/eTUw/t+UnPW38W+n5aeGtCQcjhoL5bFoL+mU9/L/e5+pEAJoI0JP0U1rNuCawYRaxDTOa4uC+JRbw/vp6c1MwCqhHsirxLU1hErrBBW7CzGcY5FohaR+nS7DCQ2PqwMJMGDIoja1sAZmVJu/T56XHfHy6j85Y/InAJdaPZL9B9YV+5SZHKLVnD631TenZSkhH+NFOWuxW4w0J2jsN/qZy7qet5WD3mXTbuGr91/gYCiTI8A2ye1VrAgJbP+qhhrXrVfV+f7kkm9JorP/+u9nbV3jpymQlaRWFyPVcIdbM6oO4iLJ43CS4G6kA0M3d0gD9sJxvsTeGxKU+M9s2mp9QuJtTHl9/2kUpmnnryzwx/2sz+9NcXfGhp7iwU60qUdTV++i2VJC76tChZLsIYTyNSisfn2TXAbvcnUPiE6QJS3Nlzru9MakNMcMHN+en0oitIL2xsJx73de9HjbTEBNGpDvjT2MuQJJo6WYTSG84n/StMTBtfz4Yxxrz/OU4HMXLM30ETQwZ0ipc7UJV5XqKsj6u4YHk8Kdko7/tIosF9Lev+g5VK1JjEzMWaUEVaMscrRPHPB7HHID5YGz2gy6Q3fyC1qO3Bht39rzrIm0ONwlpT1GyyaRdd0hHWzGl/B6wfGqkjSb59xKL8Bma7cu7ZNib/qZAKYJig21YHpvD+W0Enf8TXTjUtenpuDmu4DdGnu5O3kdftN6+mTEBEjdPx4ohkJt8augXySmq6yWvwJGD8w0tNK7NYwMzVr64QrDHZlEWVrs4auBKpyElUcWIAL92kZMrEZFsPigtRMbS6lno2fzoODe6e0qV4LYzQTDGb3mHnKP4/DFkAzb+aC3X9Z45eNtr5/+YUI2YTeHHZFeTasMIjKrErWgsxEKwPogL5owLwsFfwM03Dr/WWYskdqkAh5FkOHQZEYoETbUvJdeQxKTFiehLDLp0S1tYsUUDNRkArwmXan9mErZSiZ8IuVjS+/Ug26eWrG99RULYDtZts0ax9g3fyjVZiBPwg/pNqkY9PB2yMt+A/YPV1kAvz4F/agAOFmGOZml0CjHJstIv43bQX2J4Ihjf3dtYM4+LNGepox88D/V5CDskJINaYIj69lEhGekpSf3VQGERyoiRptcoGKPymVscSFnlMV6UZwrTQn6uXgdf4jn/0b4hTur8wn1BH1iYVn/1T+9U6/7uk8verv5+527ulTvAol9lZzNcGvjUSQNTcV3EG7b95C8HTREfZcUAme6RecfWOwKgIvFWguTlaciGs9mSIrakkQAg+OZMaAkHk/mxlI6z2yyI0qWh0tpiYciUOb9w+IxjnJijO28p61f0RK9tJA6DNVlGrNoD2Htfde5q8GutMjq0dX5JpiEJbLSzEbbY0W1Ur9gnAj23hlraeH5k6e0QF64SjTrEbcFKEWFMU4Dum4c+jeDAvH9f6lWWLRl6nwmX8qwrk8aDRp0lLfxoJNbs6/ue4YUs/86kV6YI/QKF+qt3NV01+LusdPEMrWlZ1/R8MUBO/Jqwkd8yOOCm2mB6Rk+S39p3uUhrdfE1hnyGbTAesXw+eU0YZqYLwQ5vZh3EBDzWCOLdtmGaPihrodJwDX249z6ziR3bmPaL4qhshc+j660cCeSUc2JIieqyRP2K6wnTvxr1fzfpDq3ufFc740KbD1ZNG+BsExa4wVMY6dubOq/mUL9yi/Yfsh3fODibcKOwH2R+do9mb6AJyWgOjPVbdWzepmtOCM+oh/4w6Jp6UHANkQZSv+Z0xUReXQFWrYU/R1hBXNOwcAq/mM1qCcQS2a32gXStV/AOjtn/rp+IZlncFJRp3pK4Ial0GE0PTKCG+TEQo1Rcpjz/HRczoGgxxhnGfWXVc+HFJorp2ncWPB6b+6XcoXHZ1gAUXwPKpJNMbnqId+N71hWl9TjN/UKlwvckBf84TlmD2HMwM7EGhbLL1cV/poxJ3TAzNnqZKitQcT9vo69o9SDBfqIf3dwySPOU6KWvRNopnPeMzf107M1Mz4jpHEIoF41M/ozR9wgu4P3DEMmxJss6InspVhQOSmpHU2Vgh+oWidjbqJZJ2RWmqRjIKf8zn9VVCgLImE2BDqRsQSoITw9NuI7VH5z4/QGTUVyxtGj9wgwOR4OC5EV8phW2O5asVd0OHiCUBgI+6HxNMdZwCHMto0MRs8nZ6jX/dwZlo0eJUrwMTmbXx1u7dsQN0YJSk0+TNngVh2Ln/AwIaRpudNdMpHUf3EvJWk8yABUfNQmsa7G/G4XqirlfKTPsOEkMjJW7lfFRLG/eA0m28KyXRPLg+v939QT9EmpJkvIGV73cb/eif+gWNeJqd9L8sQyyN5UImlc08axUn6Z7sJ/xfrv3RDQpCVkCvkSJZwh/2Tuya/2Z9zMyZt3eFsJVLpY7Z+XOgppx2+3suk8C43GN6dRvg+QVEH1S9KGma0TZEFVoEzCQDqE9Bs0MWGbO+/5GGSKsJWkMpgCahUUpCGAYkMWcggXtku+eeGn/qBWVe2XptNL42M22T4dlFVHl2bX0FnQJQtt/jF/clFtWHaueJ8wQC6cAL+VEXZLWNLtB9wOGMhMUWYlGZHrTJAWN896MlEam4cWvjhMoQ1lj/eDrBQtIUTVWR4eeEAOgoz63ouebcNQTnEVm1EU4UtiN++HQ6ujmc+KbnOVf1Maw0RpCF1DfKo6/lJyxNHzkqlPDJmH9CzDaRK7ekQtd0fdUKUcOfl2vfYYib74EIEyD8p05CR725eo4GMZ2r4z+eRmpwIriRm5g50XS36VAfr/tCPISVXVUUEjElq+OQ6QNRCqeOnSGexJu44eENq5lVCuJb+tMJkjUR7fWfjqlrCBs7ZKkIsKDKj6OpBNsTncvps6ysrU3T/5mr47BOBVRKN5LFcgzR8Q0Tdl5JWyhz07E1Ymk3yMIv8ZUs0FQioJJhpSuEGyVSdNWyFnVE3hA3VWoXNO0uhCLYCCm+d9w+zcPK1drdm36WhXhfgn9GBzlBJk0xSlXotIC4CZlGqjsdn+esuU1s7P7eryjhxM8MXKQUoODjJJVnO8Gn+PPP0MXLJkogdihJXrc7Z6PlZBLDy2yg9stKQ36GUedBOC9etlYYUSoW39rtGhww/goTm+hA4xa6t71ufjO2S+mQm+adAcVkQmYGeI6vy+CE/YyOOlBMnV4cMoaFnDFYAjd1wDTvQOUwvFhx/rS5RaTRQ0HpjGg+dqDu58l+bjLfyknfeYZoG68+OEo5TyQj7PSMmdrqUydD1qrUeu+KizgHmlD38K8w5djiUjUooZ/z6a61+so1yMYEk/QHNyzn1EGoFB5TsWdYuf9oiXqO21tklGo6z4IJLoJMRudVQ7yLAHLJbVbgGwb5/qV90oBHzPY7ppaCDEoTBlgwdGiZTpuDRxad+DZqzejWFxyVVdbr8k7nPGWZ8S4gqBsqSA9U381MV3DiZyV4RjCbYxtdQ7/6kHFqtnVBBXRQRUbSHiPWZvKpYo/iVN3G1haJn8vn6zUJCW1HmYk6KWGi7/SdXKZ178LnTwHtUHp2lXv8XJOAwB3Ns6mhiu47E874MiDRnkUwZANyseHjvA7579YLTGONgvSx+5SJc4z+orG6/moUDKeAlno0czs/9OJ2BTBPLFR5jYVDfd7P8HAQUKvH1pMIh11C/zINAyH5Yhthx/AUl/UXwmyfXOasMNwP0wCX8vpaRKqjZsvMDfqHRM6eVUhYg3TJqpSCPorapWtNhzaCasEerzRrxfivtHPA8jjzFPnpbH0PSJAMvuMbfnbI5HTijqFCaKgsFRi515ZR5M/q7xelaViLtTZDt1zRNcihJ4q1eyRh/LR8Y11qK4RXrl/8D2QCJPkf3SXuufm3YNfN6xkzl8v1+SCNUe/xfzqzbuBv1IFq6RziZeb6SO1kU7I7nV7NmRejHsoPK/qHWnNkj6oGEwkOMXGNBzqs6Lis9mmanKslz0PS0phgQSJbeDTeNeKde5fh1XhMceyX9T6FfHWjHcgKBcraPedh+WCqCAkmHSnk71S8FNboCUzk/QLyfGk2RANdyjc6PxiUvjYkfe/Bc/6s0HBF7aHn7lPoYZOIVzUxR8wDfFTF/WV7gV2RQW+B89kjwCQlVbLBp8oj1iVvkgS3q50IDYwwgyhpf08xzwq7f6HSgmi+2KtkzrtBlAQo0O8psBr4oNKd/LuPudRMs5NjSmhA87HHOp2HE2kA0ICehJtYqOg3RIvBKlb1VpuM7bBcyXG+oyQ5XeRp2LnvQhFglZB4PppplC+jy5kduQc5Cp5tjqLSTWwRLdH2Z0m73v+oR5le+jWCl4wfj7xRhyEPS2RbsfCKWZGtzweaDoG8q9aHyeHevUulbJkNjqObJJmLwBjxkBK7VJ3GeSnS1xP/f2eE9PpqNfqZGBsQ7lMcaovpFbGlyS9oMUZvcIGdgX1v/5LYYqpSDO0WUDCoMNUVmdkOTy+lCM/Zxqdbfk9fnR+9zF+2jzGFrq8epU20DkEXWWucXnMPl1huK10nJt3sHKzqw71XKmtYRmOzb35mMo3/y7gsZYX/HWS51UUynkP3foTkCl0peZfx7RJSSh9C0IIZy1pScdgGWUbyedDSQwHAGJn4uo3mijDwUbVC2Lmcb2+LEwLxQX/4JS7Rbk9LguUnBrT6btDv+gYJyQJiYg1riG3Gcx1dR5RUs5fWhHp6zuhzgFG4mxVZIDpqRfpSnt5UwHDHjrubqUesQ+ShhrAD6DbQ+4pDOwMyNy0KUoU6tGhUYlrRXEYEYbifFC2fNkZtXNr9uH5nQfqbHJ48QHdAPFhibfjtH0LKDqRJ3XqFWm6RyN5keUHwjHDoSprKJZw4dubNOgeHcMzc3wqGmyvJBeiySieYvRDvj8Td451ttSBrilKgTuYSfJWvTR2ARgaVGJJblt7B7LhrIdAsCi5feuEvgLb/ZFnoTKFktIEhb0JYLeO7Pqq5XXbie0Jslroxg8L2AQK53exrNyMZAcS4/Mbg4b/G0o3er8vRTxnXI5LhPxezroFq+MLnSSpBuPxfQHy9sYBbxHRI6n/ELeybVZjj8VIoaaR0HBIlRpD13KUY/x+u2TYU4T1LkYwyADZ647UtvZxF58G6ySkJ++CALodRH8Q/Vr9zZrVPPGrQ0qQ6XQrUHlqATIwrIJXNBhG7ZOHA2BFX+1T48qMKOvlE1EnsSOppzAq9cJI/F5dd+FUNpJTJp/N0qGMDFR/gGlsesz/c8pBDOmH/c6KhjXCeJCuZbDIe6dGYcg6zz2ZDCHK6L8iycJTIxEbAWrvBD2ph1AiLx7C107i4K6STf+eDlZW9pFUYWfRJAD8BVeRLmIVqF3eKz/4xY6mBry48pYnZPgh0v6aV0fPQZ0dWLN5Ox6b2HKparjsSybK/+0dR94LYYyQ9++mKfkoI6sijdJygZ9SKUuSJaZfKpZS5zeRdp7CMCUFsCEQllgeQ5dSjFKDIZKp7mlAbnUyVFb+0bkM5LF65Y2gfNhT6sGlaxZ594d9RciSoBGywoVzbvgKnxtDE/6ZNqtCLytcL9XG5sYGCmZ7K8AvA82gxvfdbIXHwD+2jncaURE43hP0YwUnFWIMJzxNeUE3yzxaYFbUt5irQ9gSCgpuhCVuQ4USTjLFbSIwVE76r2seYMHR/ZXwGk2noZw6RPzfkxYPErXLoE6GonC+onkSfS/Wa8lmjtV/bBt/lxJ01BazraAzBUpRqUO/O3ftf6stJ262RR8l1NtflqFYWvAufHLQGA3fW3vO3q+k76zXzpzgXnDFtH7Z5ZF+onWl7KxF2VMVfTvvdZRHuB8lSFVYsdJYaFGLgM0y1IaUG6D5f3qSVFvA6wKnH30x+6h9cKLqE1O2uHVwb2T0NQBssrV1H6U+DDVp2aIv1yab/AAu33r642nPKuRRTZZfeQ54u+XpikicE6pCQ5/4wHGXTF3EGGZaHk3yHaczdiTcSnZW/vhO2PLEJLBku65WM07ZRwPqfqefxQ+jj5BrE4Q1JcpiMEfKVuHLVUEiTLWrxlQyoU8nOFCBiy6uplUJHnEmTycfmaB8KzAZmC6GZSPpw6prw/jQluanvlbeakrWKp4zY1q+MOSV3y4Xl5Q3KtLYwGHlIQCX1ghsw2BUvJ1+AreAnxrpfyA6JFgphOReJM4exfLWkI3xNQZVFRMtyNhfUaTFDvYR3YnryCNFz7AABEqyVry2ewsiL/MG28NVzsaunXZXhDt6jIwUiQCET8Mn09kwz9wD5VL+bVU552MwPWiAVx9ALu329tHLpSTybkQU3L9XxKEfh1dVmV2vZNypIB6CH5nMzxDAojbOor1QFMXfym7FoMJDFZ7y4k74dnld2B7WF50M4wXFaUrPItnc6FR+RkM1fpx2ljYb49vgb8cSYPbBWyBP+gQb4qJ6SCLEAgh2+oyexoSQC7rQ9E0chw5+h7u8Ed+knuGP1M+HbubwTlIvT8VRLvNoUZG+GvIs1uKoC3liXYWObS4WelewAPPyEapXZsZQ7sAfOMdOPIfjprDbf+khBVcQTPNiswpr3l4Gi5t5FWB4xOkUZCbG4OfWwCgPLra5VAPIWuHmeZQU6UcKTaFTK7ojELbbWNP8pjYe8nyJMeZWzlKq4gH++TKNyR7PEP5qrkqZIvNNgAlWgEEaT03qy9A4rCLN5gN0dH7YQMtPqYMR81m5rX191mzuAEjt6V6ouNFE9/0MrbzIsDVZ0jWmnAJN1rU7rzFIov+ulRzK8UTJAgZYeNstM5g1RGmnuUA5E9tsb/XcnGZDF6giyx+TGXV9pWwlo74oj4Bcj2ceFCVR+6azpNSY55o6K+1yUesGJ5ECMe/vu5iSWzug+6kNUTt3bvUS0w+rW97ozBxp5T0N3auyrSAhZJSJZFRT3193y+lVfNls58ptugTXuLLkwMYsko2Nmm8VGhpcy21txKd5BJs6jooZpO4+eem9uBp2nkiBaKb2qr+3V1hb8j8r3Pa9+H2T3XyWrLfjxmg/8xqAqxPZmF7CRKeoAKK8XGO218u0Ah2mMRAT3lr/eBj0qEd1cgV4kedxafhUQjMZnYsHtcPDG/7XpbGyi93Le1PeQAheMQvQ5ZKJn//85SnMEQtWLZLN/GycQ2jERZa3Od0ZDKnLL3jH5qh52jQams0M/HH5I1zJfUFnCBQItaPEqIVBWaBWSWCFnxVmYh2s8qjZz/4hWwzfYQbcz+TjcIKBsC4YVqW6R2nbajm+PPURry3Yf1XY4PscLN0rNszzfu3qBwyAHKSD2KsmVIA6yQQC21YU0SwRAKbGLtATaSmMU1rXQoutVmosBbPDDnk5WFi2v29kAuRspEi28e3jmzCMYao4+anhhWKa6LPgczTJWG0RX93VBEYJAnLbGLRLcpul9e+f/N4Koc45BbwEY4nsYhnMbp+OIMnYXQYEmWlGyPSaPaQPVXy4FqtKN7Ue+DM1dQxuRpdcGKclIOqWQGe9QdZDlWxs0Ue3IXMwoH9H1z7TdaOPEmydLLq+wtLJ5SRSO6RI25CKWl8zmJIUgn+2VfgoToznWKwoGk19+HDkJiItFlsb657OcndNTEqldiXAG0qIHgggAtbgD6K+MyIT81muxDw5Th8TUCMTCvAY4Ge7RiiivSsfBCJnW9BoNlqthaL5TR+GCN55Ik04f87okFzGdqdHwP6/TQSueMo/tPepWryHncqApETZPr9pL4MUMSSu6jNFAsP/+EiuNwvM3AEpuwXLWaTQhH/r6JSkYxdQGHqXqtzXINeaqKHQ+iN4bCQZ6SZjAN7Z7CBP8IKXUjrn4ziZ5TUTVnaXtp85fjgyUiDIMPep6rRQD4Ff/0jBCswZ7dhwSEQfQ5Is3ppc9yEcquQdzZ1oWkxX9yIeMtMWmtGnZ148CYGJ14niRvkxXIXK597EXkZ2HblwoI+RsJF29PLwPVnaQgivn8mQJNW84wiP0pBap3BSRmz720fXrk99HZguQdN3CqjTPzZXLQWwZc7uxPAWSX3eU/V1KlK4n1MtPytdooqbuboyBYMe2kqzk997VrDrXiyIJDjOAO6OPHWkmG6ZbzHdFRstUfpcQkrKkb2vAWoXtPwgas4D3tLyPSQd6nc/OokATELau1JW2Ps+si3wiU+xZTWATcY8f4LK86LRuY3xUAC9sTn0IPH9wZWw4JfpDSFdmu/bEiPdZkmUNzCtKIQl+j/5+zf3xfvYwHOVa1FM5y6rbXNDIyI0MIkS20CMJov5ALRSB7N66JsGNIhFZP+JabrHBJRsoO20/jqewZpVOkT7CW5YZvG1e4Oz2F7mStItjOrox/QsJQlPPGmwDm4PzhCNpyAkCB2VLmNGHadisAyY8e1bRhz8jYcWtQqe+TDZfSd5Wv/pNeAJj1ItCLqO8hftXcjdIka5BQKZijhx4oGBnGc/jXc85KfR0TNRSfE/sb1C0CbYzG6HidkVZ650+y5ltbPAMkN+JC2O4y88JPqQ1g+8ErLu/4XbG33knrMvavf7QDvDNTG6cTugLz2J9gb0cfsbApcRa7irdXvgF4Qh8WqG84ny4/cyi7PAqm4gIgNejaKrmDeELo3isn9WnN+pRP3MQRcVrL8ovFydeiuwKCbN1rGAHphQnADg7Mg5dy4xbASuL+aYagSTvHPGEIG1jDlzeueW5bWzpKXWk+Mq+DQC2BgpF9icy+m0GCaCQ2+3Hj3+rXnns9geRzGf8zMWJ/C0yQbS5SpGiOfHHn6TYqvwoqfwutB8y7+PTPvUhaaQhsMItzOdPP8pIWF2Hy2ua3Lo1rSgELsI1QBZ7xHIQlIkrxVWhdNviRgEWwrH8uL+AOxk4PSss9QrzhMFo1/kmeHcE0sU4KMRedXoNa+9rKzhYBenX2JXuGBcw7RUyyVMvg0ZRFdaqneWgZszCPSCnvEHGjScipqKPrhb3lNzbjAKOHOCjr7uZwl+l+uLBYAXIIAtZSRKgjXLiFxh8JcDsxdWTs3Hfb0gxI0xQJclvOTpcNybuf2WTyCe7m8Ssd8f1fh1S6RFYYbbNOk4jhG1NN4TE2399d8+CjNSIEoYiHkronVlWQEghcCH6fYRqMeF4OBohYiK1TWInstzPw2mGjaZdhtmtJGbN/7EuQLZGoJL5PktJYijUhZxobulpzm2FQx8MBxBtMJNJBI7svWHEILmL9tZSd91fQPC2yMDuap/R4pvOrWGd3+It+HEMLlum3w3iqlZRpEAtt7P4wt/5c8zFzcd/tAz/T8+hbMFKb+X5FbfPIzxLNuKkEcsyfQ1Cn/Vq7cRGdNI70YXj4Dpvf2Hc658oWAHg1Q4FAwom1tKmzyJqVwKb9CsRV/BueMjqRtBqF9SC+/tIKj1f8oLMcEN1nk/DOkKBIaw23HQVFwkmZWf6HkEPEgHVlFcKWuTMuQ9C0kIv70AdND+5WTkHGue6VggEE/+r0qOD/ogTGzn8hNxd2QZbwbilIs6Fql0vsTC0uBReSo2Vmmv5VsjRtCw4IEt8AcbDzX/tGbhDpzwnyfq7DBPIOQKAWHcSrwP+/1pp0G5fbIG9a0sAvDTBtJJc3Wu68d7IVlaGfgpMPiN5Gupz05jmaMtCt1fnzaE/onkC/zaIPvTuiMYQgX3tR+76M/AkVEfuDCxBUXzYqVdZw4yifRRkvxXKhy2p1kd31CI+vWm44C6Ky+//IMxkm8xLvpNYjQz2BJhcpXvf76Iv6IDKXzMTLnfx4AXsNGj6OWwMhxnHA6ra+nJ8K4ZJ0ilsyMAkec4JfjagIH4ZxI4SscoVMwKI+xo7Oa7jnTJ+bF9uM8AMrYLDuH3pFN7Zw7SaXbmpskyTFRJhPw7RnBcdIiHApRYvocsZ1WuvhcYro48ICCkHHokIu/6WoLiUI37OWlyUpbOR5tA+oICeCmK2I6Fy/d54zB25P+2H6IUmei+bbaMYjhQJDZQX3lhGdYjGjmz0Kncoe6MQKueaedU1eIdN2zcHu5/WVu/a46UeWOvd9L5/L9sp6xeD+zm1Tm1zRY8cHSRl8IKDkkbsXPZ7iP7HkSJZ58GIHEhhIS1WXiZek9oCl4ng1OVE7Th2u1vY3mu8CyH/wVx5Yokc93Glz4M4OC/NQUUbZrHhAhEg2w+yXuP/RlW4XBfxMVYef9PoQAl1bBy6YlAvm7yPiXXspGc86Rn2gRxzBingW14NNvyukNLaZT8v1GHUBGcP9lhUqYZxu0kM59Y7QpJkfYopu1AaNBr8zcQ7DW5KmwYnfpYBLRQHoKURhhz5LUBLTH2hbwN7n50rFbnh6Qid+GcQtHIX0RVhngPNw/1Ovtd9r50pgQDEJ2H/GeHCd3sHf9ioooQDYjZcjl+WVWtGUN1s43UKzoosTshyQwIlGWvNtZr6SMSzbf/bTcCKlGlDCUSZyoU9EoLK0btTg4slIR86DYsEVgrDFB4ifZFrN1Ozga1g+nxH+S8pXcYVwDGlOi2SlKRlrF+l3qSHbvx+I6LuHdvD3v3DfjLdG4de0wcNqS/G8TZgLsaOuGYsOmN48NRMOpSdiwAGc5p/SffLawfc2wmkHamqQP49yTe/wPxYjdPzhQF7Mo0lTH5ooOA1nD/jfpjSU6bDMhRcL5b1gvP2SeKHbGpjI4NTq35lxWTHtbq5u467P6aR/5BDEhB/O07jkOG7wM9hTqEvaDEC09/b3M6FiOAHJ3SueV5cP66DRJCK4d0mT6PtpHz24o1l/JCtYDg0HQFp42/miVNrQ1+aes1vk9vA32IAIOs8acLOvTDA90r/yLhzXYQb8jUzWtZ/GYiLfibAMFwPIbdm716FsvaIW/qn/d6c8De350qNQz4tQtKT46eYS0kUWdBqCWFNFVhNgep0uAm+ssZtYjpCMv7no9psdHGEXJHKTfODiBeYJL0nUHPTQOsMJGYkHQG2cQaboe7GfQ4qTAw0GFnQF9UlqEOS2CAW8pMHWTaj5i8PlD9Ag02rF2YdyhT3bjrh7ciT2YDoEH/GvOFHe1U14vn3eHhrabh/efXsIRrO0kFE80s73NDr2BdMU1iDPYtdyE4JkA8aQsmLTjh4cstg06B0cBkSqFlK2zJMAvKjtixq2ucr0D54/L5qt4C15vEVcPIs4WgVGB++z2LiErK+kLtrJQ4/yIBXNLNopCtLf3cwWTcR+/j+xEUTI3dKLXGjhwcAxlVD4WFoq9WXynnt5N1fVsjxq9D8fdN427q6z7c8Q/g8cGRvW6jyEYAamSv8WMqGHg7n1fSIdXA8pl5Elj0689nSIzktjppuD9RbOHHaKxGi7bz1Sx7xTFbcIPoNNNLxfzJXbIB1p748g0YHj/jifnTlmqUyD2ERYhCc01XAR83EInE+Qy3FGo+BC4vqiqJeCzerGWInJ4oOH+Nn7QAqzA48Am7E9GZAFBXdZqwdthUBGv7cqUNFWQhNYoT8qQ9uXS073T4RSA3YqTCvltqd65GVQXYKJ2z3jLK6gssfSTgFlVYbZZHqPD7U6wvWgIQUyaMkbWnOoH5o8IQMPWlhs9XDV6t0TBuCLrvk9ADYXS2AT8lem1C3Pc6d7rezWbNcIcKajOlVbnern5fF/5acNU5vrI93jR4D9LFLbHoGVdzYjkUzOTPxJyYLK4WDr/CD3898CyCS6SHB/e63SHurAeUV9zZc6oj1rAWCKV0EJHNXkJt8N8EjZFxBsBZ/zFBXD/Mse+avaXm9KoLoCqnEs25z1bth9J/gks/rBmtvvIaW632pRCJWkLtDbTvzcIjq8UR2PrHFwKSWIdXvMiM+Xg+10qmorX7PST+UcMuZJko23zpnegDGmsNzQbDWijaPYGu5Y3876tv+QwV7PUNZP42+k6KTTxfuuPLaXCmYU/x/sc+ia51bJstDojmFebfz2G0u4Slldp5R/MLQDshR/ohQ4dKKJQXd4lu6sQdVIpO0bqD5DdC3utidWXdzZWSL+hMYn/Zq6XZuwyR5WuJFQXAjFCEccE7543Qa2xNYAYoHfwGsQMQKPJMXnVX+72SgLXKR/K+sya0vDEYLQa3E0R3GEKss82O9Us2CZCxOhgK0yW7qnaAHLjqTGG5uPyXHLZAp/qCD5vjsGl4vx+F49J+u+QPQ6ShYjcwM6RphBvZwCd/NzFZJTWkHLiIQlEdNVHsZ/LSehmkDHvofgH/c3p3l7Bpb8esB+PCL3dQqOntRNgq0/2rJwB4IJyy5NH7TsKnRFpxMFljYxjwcByqm2aVyGU3ZlD2qPMvqU9eKrcNiifQCL9ntuIsPwkIOuyc2jyJvMfhDSxdnPN/19d4KJu//+VNwmjINlLw6NFQW8vuB7uqOj2L6L8QTSYOieO7tWXZEclOKSppEHukRQVLzoltqB9sMgHYFk3+tHLRLDU2eKjxmrddFdvP68Vf8FpUblcWsMEyHGrPqmG2iNyM7qFcIjl5/uamw8/O/17JUKXdda2gxxXSqTIbXF6hdluGbG62+UnYnT4XTfmgf13/lhB7xi1RgS/Lec38v5vJ7fDsrxBNLPnzoe70mSfXF/houvByrm5z4EmhI0kemctZim7kZGvjxAVrVVbS2yY2TO8SvXk4KdVfO7H90xALn3j+52vqJ4aFjI+aJUDR2QvekQ46O4TrGdhzqhes4KUbmQ3YWchoPIsJ/OXmHAX5XQFRmyXYME3fqshT+VvVvby9OwhaXEdF72h+OKI40wAh8UIt9qNomEnkoUvKX9OW8XpcEmLljTP77sBochfCO+Sa7a6SgSrD0IldUPtslAqopPhauyZAOkU52WCVxLjta4mblIXJks/qRO8IGuVJjkHXzQ1sMsq4L4u2Mcw8pGOP4QIl8B7b0ctcxMz1uIhCxu3/vylRZlUG7nkK7Q/+qV6O4slqC/yCP4o0vVno5oxQv6nklDY8BQsy/GoocnNUEAjPxgYnohKKd51um8cIeLZ3O+gaT69banlBZWlLuGLrC2LDFznGU+sWywbpr7MpG3abFJkiXYFbVJ0kmOGU+0AJCTVhpGgpPbJS5BZ9tPRqyFkm048fmlfgymurAIDhDC4EB+Hc0Wv36uvZrC0PG0t4/sG2renMNhxuDctVC3yBT5vlPgxDwki92XAQJ9x8tezy4hRL81Yd9h0+wv8AcWd1azhH5qr8CD995cELYXdzGGEhRKVDUVRIsIgkJtKbwXv8qf2txFEEc/hJJGMwcqmHcAd4TaxQ3VJvIIAWXwz9Nu8qlPhWh0heHwcPZxTwxppQsOd76AiieJPQaVYNxvFB/zBWcEqJRTsT78gJVGIpA94NP0jPRT4HPHw9KYGDOudxqiZJIZIPAl4wdKkYhGC/WMzLZsqV1aVTaWiL/bd1PmUuie7PCFDLJX17jPz5MgD/C7LZmGMbtwD5X8FKBVjXqfBjSD0xTb3l2jjO3RKJeaSECf5UREZMj7QrOtDS7YXgVHCNqBKmFFVeLVReGFshrarHPteTbkKyDep+tRg+j7XwKowPqOq5e5EICV3k9kefKnuMLdpNO/EPxcxU2lxlKvpaRe8O5/tMTGzeYC2hi3NkiARCDYTpQW3bnFS16ZmCmHnPKMxExjmXP2qogDsZgmBsBinwTlsnPljyWBTbhCbA1tBQmpuK9sfOJ3k70636CEGbIafCHt3LcFeRfm+QPhBiWeY+m8oidd2odg12gGE1IcyoxGLTJimHbocX5hxDPjca1exmKGpcYsAkV+BJtXLULMSOY/MCe1Ws88ceqMcAF58KjjZj2d528w75O3ZIaB1U/iRJOsUGbmaqv2y9lf9zK7nqAd7VVDCDIysZO6/hYqX4IKtoHoQda5D1C9jXFOYPDxe1+ki3ZXyr5D4i2s/ywW5vwd7Dobyv8IIuboOpdplCGaPUjdD+fFpjI95yFY12HpTLzacLFowApN3Dui0AwYaZKuIUwWRBgW8vpCA1wm7qu9EWKHW/urrM65Gp0uEzWFbEoE5PzJGsarZSqkQs75MluWOaVDqI6zi8RhxXwIzNRY0TSzAZJyR8tlKgDED9XvQKyn0vasQ6RWFCnRpNGNQQTIibDXxQGTdDB2szE5fFWaPwFbeVhbmuCemd0coC3TKqG6lKJsZOL2dVDS63KVK4QlA80Gh21c9DiAdw4HlwMjCyElRoMfDC1wmP1uUk+ggmbu0l5cx9UlWNDi0wc4XatFuBJaXTQes8zqkyFKiNafCqJe+YPj0asUED2GF9eJr4SvSTPCTCGsVbdKs7T+Ya2dQ9RhKx+iLxdk6/cso6TpTuqygbYaihSaE+i2BO26i4Zjjt7pfwOAlBiKfpkDZvOMMgqPZJVVh+CxW5H1AmARzCcVDfq/JAz6rcfLMmVFqSu3P1MUSmy6xECWTWEoAaTWgavnCkVY2lSqwHPn/tNyyRaUaDdmJdeV8lJRPMH4sf8i89jytYAuJHgSB/lJPnyaqTugiHArRlGfWSPyIMqORcPfgQbmjklepN52K1/63kAiN3iv5x2kLw8TI+LJqwZ7IIObXNSF83XL+zxXnZcab/PyWb/4wvIwabbdok4QH2XurevsdFRc+2hGZPle1Kbxlv9Z4hYe5mL24AVXVBVhAVTXoau9KozkU0tDtP0EElUHz0TuA7eG55XccGyiLh7jcrCdiWzi4BPXCrqatsHMPhBns/71BkZpd0LDsS4JI6ksklLXIt7dBA9chHlYa6lDIrk59ZQnX9j6RKcSQFQiOgYfMosQ5x6Sj6fU35fNFLzt9WhHKNeQC5IMEBxqo0lQ+EgeEpVbbPnywsVaQoGRbq/vvh8I4PbCFxAif/nHibX/0vSKuSdzQEehEK0acud9TpseIVC36r5vpcxDVPeAIslCdh3h1lwGWiSn3eTJxjlfqvfX56wfEEyquFWnip6spnTFzeVo4T6YAZYL3VdUtLMKRqbYZrqT7j0i1ZB7t/EeCH8lvsAJjO0zHIcwqpbw6d6JKeef2NDoRIy524BrAZA1rHEu0568r4gSGHK4L6lYlxPvcZx6EoRUzMtbhZaeRWgub5eMA5FTmt5qMebTZg/BQpjwC6WRk2dGmprFSbckXU3JLZOMzeyHFY7Uf5poXBeukwBtUchFkfoWkvo7SOYWTE7EXfKzJTluncUdgTUmajMCYgIrswN85xRYKiKxfU5lN8Bo2699oKflh6i1czC3CCZzYzMMZzYBDgtx9QzuPMfCXQM5oDQ1vEgzvlD7dC5E4s3evczSb5ld+lXr0rcCD5zT+QKGCfvXoKEDDrwSEjFiGrgwNOlvy+gn5fZlJMPYd6nUwdQrZUhnnTZbapM1KjqYtUPLF5Qld77VXwcaGKWYsARDQD2u+OWb+3v9fGEuTlwG9IIwoKaTAUAmZEvEfnYcDFtF+K45VfLNGv8qCmWPtax3nLErUeOXJ2LIQPd9B2Y9jP2h6jkjRmvKCcLfeUxQCPO8XWIMSCq6uWw5elCp8CwxJfIEzdJEIKMWOBsVI3ZsDPL8MayaE376ttqCPedMGBWMtLeaHu/yat7LtwtqNQFHJabmMaCIV3SE10am3rxh+g051anmpcRWtHhtlqlIfPdnVNT4WSoYpn88fCSeBEHTg1S5OyhrVixyOXQTXQVdsZqFWO/vE2I0OT2Q+WCYvWHCtF3mt1OjUYh2eqAoLJ8QlK4NEcfAtfUmJnj9v5K4RXpLAVvM7MgpPqgcXTv6xriZL/QjOUAmdczCFcoHbYV3zzqAxHxpZ/k/X7dKDa4ZE9K63Qfv3qNV2Zv6JHGRwute4NI9kqNQtAaVd2PIh6olGukPw4PwwAzm2IfhQ4ZNxTadGjOsG0bVAv9gWqYDWHEZfE1f2FIkxwbNL0rVRSWLjBWit45tC4+o7B1/kwStw595AiidrMC98y0NveZqn23CMtyf0E4MJZvbaVbT9xnwi9j/rdR+ob3S6mHuUgJK4H0ypHXKwvH/pEA1TNgFVZ7OKJ8h+dTJOfQrSDzrsrLlhOvhbfK4D9Bt5w00AhWEzSY/TgLQllkidM0wWqIvGdfsZwRg2IvUv4zLAWLwepBccfnyifMf4jPBRQ0XIOvoOwB5OoPyb4HQyO/ZbHgCyOecFMNlS1zSXcCZc0ZzdHzpa5wxyvqCQ4/wSW5mAWTjrkxLC6lak4HGA0f74tCMWFLidFN1KuXIHkKRfhsBBY92fr1+OxrA3nh7kqBAdYieAvUb8aBYzAZAE02PLsqOX1NjrARqgXyw35jIzkKBEjC7tDcVl24icn/od3ecrbIa9L5UrT1cdg3YWt24CWngq9lBlPQ85Xx5HzdnIWSTRCH/B+JrehtD6CcirlHwJCnVgXhSJ0iTZy1FEwkgJPUGTA4vmmbju+jop/v97PqfSs1bOl9B+xVJg5MchrPOP9yoc7T+F27KxhYCrTF+daysbQeh+ljI29BZJfsoNpynZ5+9cKGf1Bubd4A3dvNp9I4oEZ7Yq7n/HCvkXWu4jg0IFH6f4Fe5yOP3X5pTn9wdN76XjpWrpctx7FWOJCGfVdf2fdnh24miBp4LyPYeMwx4RIHJ2Ar4CpyeMB8BgEbd2t5RCVoGKW88A4MfrAPUjMIv920efkkdq9anrXtWCux2rOP+UZCiCPveB1SB1PeXBr1V7AP8WbkGbYgt/A7e7UEmEVmaE32svJnTveXzJH9Li7eJz2MJx4tsqK4ieBIJQmGpQUodfc6xEyibCz1FFHymB2k2lijq02Xgfxrh4kkz9z+PDQu5MFGypszVpCytlWkrN/87DeT6FYKydJFEuX2xqGs4RGp6v5veGPPgImx08W22WmeRD3ZezPekr++xtuUuZQhjaOBbC/KL7etze/x07GlL8l35jMDQ5govYJj01pHK2n4awPa9RKqAfBbZMpWlhowNzxXJm0v3o67CG73ocoGuEv1pKP+YmycokluNfIjx54S7GNw+EQq7CY+3YHgtlTZcl4/621WNDjSJb3mjPix9BFyF0TrHkoh7QrI1fz7S3tmG6b6S8oDTtFuPAxRsHWIu1PhrX4Wpxe+ClLqxKDuWohh00x0tUE58ebrrcm0ejDlABZxUsCt6eePDogdCKo0FdHs6/pgDDoO7YuYuUbyt+3Q8liXbf/Ub+SXBRofrhHMy4GEZLPafajDk4ppzMKd4SxWzKs9jR9wNYwYIhWejMNIK/5TQMFcyUWBITjnKYwWP8+pPlwhyf4Z5nVWelFgi8YzRAdJDhT32RJStJPL+FZmYZ4ph1CvmvkDMH2m3Bm4gCFgwf0uqO9XqLGIbZE2P5/PHy+7ZfROi75Z/ufY/JCao6XRnd8Qt7BjqJEFIQq0a4DcasrSJJD+JEhsz2NWUzqE/xZ2zgW+1GfDe+gEcgXWDLU7Vc2mBygiCP4NaRyTGI5l0tV7kQ1NJ1GGupS1BUSL1Rq6LZ2Y6ErU2a+JG3hlllXwzb5WL9xHD27TPQ+HCYCvTA6BPAyN3qJR7mRtRcysIpv/Z4EHqkttRNpMZvKhl6xHDr3OJHr7ze4FoPnMn6+2RB824lILJmgKHgwF3uuAWy5LjxykSReCpoJnHFGKHgFX8OtJK2rlFI6A7ngCtNEJYoxPsO5UT8rQcSWEvz0mH2qZYo7x0k+f/WmpDcWLlt7B6lr/Nt0ckbJOu5rqob3jcrNmSgiK9ComR3rC3np0IqtHgtc+6C+xU4xqPxW6k7qJSHZ9kAmH0UqSYGXLq4KiOoPhl50aK84Rrk8p0OgPipXwJrGQ3wUGqAmqddlpjwYpGrN9/GGD6SjXaWXp3+HH5lghahntZxRacYNdlgU/u7RJuEAG+czJDNP0jvStrOIA6T87/gdKfJegACnTjCtxEwWG2TKmGGe+hoR49qFGYExHSd6T+dsn6txHdyOq8P6FZNV6zFDGdz7cIgfaSpIYrDnM7AYaKvCB3+GHVRQ553TwsCT33lsYC/nOXDvN7llg7ozqkojZVcnDxZPl88tDfwGc0kdQUFAucG2Lbu91eSRPDuGbeuhlGNm9XFAxhni8At3dSnUfdtC4XKCeQqp4vQub+D7DxehSzOeBAPdXjXruK3vG2+lleC16i8Q6SMYiQ/K2DPCaviBiyGcLvSso6qv8AxMqiEi4HyYzLC/mqlAAkRnqo5Xvgp9IGnPDl/QXQDErfeVcgeUF6td3GLGvFPkJNwgo60Sy0O4SL16qH9vphxjJycqQ8dIUvq7/jCTYgQl+AiM7L5TFIETND4l8YnjXNXrhEAIP8boECb6yWLmROq/BnsG4KPbu2JZKDCQfbbJ+DAFi4BZ36v0bxurj29xW4E2FriK5iGfnA5/KV7J8ZDESKwcmC+5TQL7nJZBzcErj6GvKrAOUvklTLqz4PtZOy7e76IWmE9+wq4UMNYpFg9fO3cN849CJ9RVu5374qXanOxztyfXjmzM1zQ5z77j4AtI45ORqSZGKpRQTHWzF+Ae8EX72xTKO3vXYV8QU8ME05k8plA6LMOdm3asZ6DgBWY/unwyNjzTa0IGqPdmuTUhd250iMyByOeNP5QRnYZEZkib/j2JipjrcgGN9ucqtS/vHm6TLwURjMlZ3p21DntGfFafj+cnGA3ed7H+PzeuxGUnKmuWyKBrcG/HiGwuyLZ1LvbdsTOsqhsFOdhQCu3Ifq49Ed71GWPD1C7KvUtt430a/hVXUA/hL3C62Zu8+LrC60eIBLaTJzhXbLk8YMuvfnN2F2o/AV9QsAySLf0LqXMvTJKFlK2+RsJjCDkjCFHGCVOoiweonVw47IGReELudsPCMH4FngR62UzWuIwDOKVZuotCBmk3VCMrpQ3BV6X9OcgQ1N/93aumoM9tajQBXzIj+5eT26W3p+2YmudTKzKESfiQPMfu1dVNEuU5+oUHbtGuwo0NMpfx58Ivkjy1BVA4N3V+6UE0aDHtozc9vxpBCdvQ63EBGEcwMX3OXVjEXQXZqVg8zDkZD7cc2Rz+DmyMidw6vjygDmurnDtU6CG1yz/d1wrZjf/En7B/8NtBP2+4kUPTVOCtybV2/vlAMuxhD0v2BvXwDPZMCFP+CCCRRETpKWYxLxHpuLVuf5DeUuqB7po4q+bfpWa4wIPcvZpWgj6BMtAAAkZl1Mczt37DbUOX3zOPTr05mMt5ylc3XjCx96KjlkmkH+QQCN1DxAX1AuqMONo8YiwM7NauYXx3Ido9Nhxq4YH8LS1dldDIWLtVTpMTSeyk0sIbRHcahgodv1NaCs8L2BlL87qLfSJ5AX1BwcnvETeg+tD2G0L71JaFZwQafV7LOa0K90581kuv6Z8Ht8e+gFdZVMzRU/cihSAiBpWXH8v7wXz9qDmf5V3F7d0aMElqI63boJURmBdZ5g+fQnBtLs0L2LcdKBOu44dGAJtj7aB/G9quueCqazLobJGA+gfDWCpiP/+dndAekz6QgrCGmiO4X7Y0r7TTeEZUJ+mCgP/QOfv93PzZK1pvLr2by5MXqZYxRUb44WU3B0e7eyxPMxJttNLVbjqUI9IwUTtUN5IuuLFSAfj66mgFueNguz71g7494qwxZnd1uN2HlOHrc6NPpVSEpP4Z7cevsjHLP1Q0lzMCWss1caMMYh6gKLgZgnxejMcT0kJ+HpduCocbG/WVvazzKZDKCPirm7AAQkxVqM1KMMLmgDpZsljceVyjMSGEq2lUAJVZQrVhRAGg4TTt/kpiVlOcdIzW63Zp0DNOURybHZseeHk60/fnK5f7RbwrBFhNTi6p2Okzeym24m0dKOLaMcXKdIWbsGctQBsHq7N5ac7jQKJEY8ejIRpGdUEeF3AWpQuGMT3cAtWQ/D66Y5phWjtHvvSqLg9c+nFrko9OhDsMQrjw6N96TI7VxsJE5YECYmV3zfxmKYBu93pLUBzt3XCyGJIBULFd2UL70r7BeEk2v32HskEhDKe9xwSM1JggJksviyhRhXT5QmSFXz/5oUHedYmqU9bT71WAiYQGdiJYyxJPci4Ux5UoUrkvtuemMmpwPbpDNbZ8D7vMsul5I+gOlkTB0Cog2X2Fu1eYXi+AqjzZV4nDbgK4bVLb7v935amcl7TUhpPpL3jeDR5Fh6TK/Ee9ZxMdxg5UnAPFvktkWabrYMuoalQRUGbhNZc2EMSRQ3LvreDwA7iKrCBIT9gKzjQaWVPLStzaCabYMHNkVlLJ5XfEiBqUV0PrhnD8d6Vg6ER49a7inWc3UF6EqJPLuotrIpO9RmEHm6Cc9cD2WN5Wvy9QJPQbI/sk+rASphwR4x93WOX15Pbq+Ejud5nnqVd8FguJP1akXHELH8+OUrPO3dhgt+r9apiVi/Woy/pKgfn0KbLUeC3HxUPGPu46YCbNqWw0efgv+ia0rXrK7oTRIyV9GbNUn27WTF6aOS7Dyf2V4yJNBjyaXnzjPDsfrIWPQGBCNe7Op6a2BvfsrVOquxBW634K6XRCY8tv2bSXzAZxxYfp5OJKf3vFUyO9hqa04+QrVJut7GAXGEtCel+h0l6trXxG3lWJcc7ZsGmBnJ5kDOdHYCqaf5LdI9CIjZxIVI7JOh3gqH/1bh/OOwGMws/232fRsGVDOWxbz8bMUs3VgspcjcO3Yd0Kwb695aAqCUjh28XFTL4X/rCt57Pv+wgHC5CEW4KjRaw9FRym202E19s+HdHjBZ+aDGI5/mW/RGRPRYlkMhfDWM2Iz393mqoKcmT2cFqokayI0VF8zJFeR7Hu+Pcq0wS+ZCBoiUqnO1a6+kJs6rRwSogAkuehAM2i5N+qTjVZIMPjeKq26kh119bRf/dOJP9qJCa6d5bP7btz9CJndeJky6/H5QwvXD0uLvAXFs/CmvUBsW3JNdweoLcpvBna6toENn53EXfEGEY+Q2mpHMNbf8GClOZCSsouy2LeFm8YXAmOBxdHD+llOArWNPD/YioAzDEA3MAHg8pkbwcGftDpwHUeYkKBLGb86+W7AZBNtjJ9bPxfUcNO/36e4oNAGH8a4SDayD0nDkUAja6ZlNk4EoDKoCSCix3KK15vd2Uf25GLLu/rzVnhZosGBVCpR9p7PNoNTCnrkq2KacY19+hO+7q9cWgCPMYc5XpGpI4j+sCDJKPm+m/eVo/jjnr9bmkeBK2BErgekDajY/Y9mWLpdFCy0ai6QdWOX/W8QLjBwEoPuchT42ZbxnSpaC8X3W3AGDg1thoioxInR1zdn041C+MM9AO8AkzkWLTbSCDGEawhDnS7fGgIm+7lNtmY+W73VJSzwZmMnMubSle4HoT66ztmpaLXwAPh4AAQx15LYx976guGJ4/t6CVNVp9uXO/sh1nQ+yitp0xTGXo1Ip4MFXcwcaZHzgUA0UABXsVkzYeWSzzLiOp7KDtHz5eRvAamIHnBsJ9t2A7qMkunk8u5oMTGIYwxVvVwbZJco17zVzXAbo8bauFMqtyvYq7H73/X/cI+dLYsfE1SwAecHzEjw2QmYUJ85jKy8BN9Q+unD48YmqBjXsEPs/RTFuRVVxs2ql5nskQYWCI2b3qucRvs5HXgW/7sewXO5FKLtRot9pYD+qy2yBVUBZAkYCXCD0t147kWXTziDVWlzuRu0RZPVyg8dxMz+DrgxJ54/ho3UcHP3v9KcStZYk1fGxap17TXHTUaEmO1VfDXNbFHpZl3rpq4YXB3LS+amj53iCjwVQgapcVbQx8xu8f+iKLJVrp0tgHVuYndIPXvM1d2x0HPjCcyqIwQZyrTQ1KK1y4oQRSMiShSfmUH/rMN5Us6yd4nyaFYHCwxFKA8Oq04RNQjeTPvjXL18kuj8E77qDs0+tMITu8CjNZZJWrAWocb+2TIUhRZ21CNQ4+aBCpqyjOM2RaiUsddNboDevtGKPmHvGaZ5yrble87KPZT9bj6axZ8Gg/ak75WC0uG2RKEDymAJcmOMlJiuLbYiWmAFnIuVOkzVJwswBWa383S1tmKcUxiOcMrSlOeWCDGzJmmXFnYUBkeyiaTNqwUVomwt0h09bgSfip3cml4okg8wbIVPgw1ZlkkvLYDQNjJj/8ns8xOslxti9ky9DaqqtVLB9jumsXWuJmm5qryxBfWqzewBkCo+fmdt4MztRom92CFsAsLA3YQ0Vdk/dGIVDAstOnwWJTB6N2J3CLcQGQL0YR+tJAt5i1PpKECIwSRyAE68hM+ECsryyQ+nNsuOgfnLF1YV6PWWz5+FcYuGzqaj6aIPVyIKSeaQJtnvVLlpEy+bS2wYyB7OPqc4gSnHIcsnMqvZtYS7Tl11U4utwlwPcFy1RVrtdSZwO9qaPmVKehCPsRJyEujwwFgA2wLjsKdXZBwGJ5d4CnzE4wwInPB+iKCZrgJuWlNRhG1a8XOO5sciaHIVISQe1ibe4dkfITguzKdWSMowhKnOWQgayqeN3mjnYFULvGgL8Srd0Ha2743H7GMO/mE0dDLAvph5RDbw68ae7IvwqqXxAHKUTN1epa9GbP7VoOQ9vY3rXrNGZDqJ4W+xU6/zq8yW0dltM8X7sFj4atvJZkeSRqPSpLrNvjEY00Zc77Fzc8iKdGBZfwrpyfYCIYEHXArrLfJ1gpFioCvzhRj8RFRdE3mpvGybjstOBDGfZqqXFmKAQro4v6SrXTu8yUWJnCQk4m39a+fexcQd6+eZ92j+bNCPZHbl3ctXU2DXQaPuEQA6nLYql4tMQH0px/W4A3Z1tpudbgEe/QuJnAbTbUV93BzM0CyBHl3iirOvmDpLFtM63CFch6cb1jogHdmu8txnSQGNqygxTyOzoMWPdEVNxmV1mJSy7szXgQT8QzCpzm3QnNAkKwxVNeUkJeq5LtKcskX0cx5IvzEqG0RV7i6jJVXKaM21km2j1VSATPE0itt9OqQY8BylvEhlQW51fsF+BTM0QIwHRqO9YKxwDnRjzafirtbSQuEouaV/ZtHDfmxQUl4FgYb9gApr7Dzx+p63p+QcIo+E6CnIGePceEY3RfBGNrLu1wfPLuLHWdaEvidOYe6QfQzKO+e9332z4zzcKyB/TNSbiFT/EHo/oZx8AOjXW+d3caUV5sFs5vY0+czABcyWS/uqC8O6t6nUlHxNLI8G5qBrqjg7lVvVk5CAkkVPe8HfI1knZkjmjyIsYee9nWrsQ2244v4fhqKy9xX5Zgw1GWs7SY2wIqGpWmnX6Fjknvvmg7k+ZXOhS9yRhP/aKmtrZIYmdGZCY6MM7/kYKdScOWgB+RQ1tyXtOgv5EXxcwsyIvGN8YdMCQCb93bRo1H8LcC/5LtSmuQh/UH273Vil57qi2x1LiIoh/etaDD17jStu1r4bNOxcX2wfXlEcLJZEG6qkZxNQ9vU9SXF6URPQplzbdK1fD4j0dTqs2mvFrm8ky56g5zHo3o7FBpSMzL1KmTe+tfNJJ/IqPjPiH721V1SowtPXhDE74/HXTJP8mauwbzGxKyx22Rw2MzZM5Rh1S/gte1vO//HWIShnucXDhEc4aCGOxGoup69GZHG4UWSTBWNDfvBp93mU7FLKZJr22oEUK7KKRWUS+sh3PNi56p1dIxrUMAm/bl1CyxgfT3kT1NIymyP0Gi9Nx6V3raqUjKawVBAcx/mNIYPBAifh1b0O3k5tMBbtWluUQ94c9NAIYtBDEjmXfFitchkcMvIRxautlmv/gGMzl+Xf5Wtjc7hpUDAHPBqgH3d2bX8gHSZZYafLtSp4UWxXESMIxY7AW37K0iZeUSE/V4A7GSuJ8s8+F7iNEWK5vSUgZhlQRZ/nAwRYzcN8cco4ul2zogNJdQSCQNQ130GCjstFlPGzBhN96ACRxlexZuI1wMLgPGejj9PS+Mn8F8aEXsoYv7n0H/J5v0+R1F3YTd9M4H/Limn++O2Cd8RT+S/+o04M1hVE8byvIp4VN9c9+LNtrl4AwbqDT0G1aE8t+Z4HZexjKE0a9fywCG+8WHHIAl7NHZUlPyLIw+vOcgC8s3VDREJ/udsFOw61OncQKlLD9s9GgesbD+DVIZNnI1uqfFYVrQc6r610lTlAVQkCaqMqxjQVpHzuHdKNeFHMFtadNo/Ge9iSudq39kBNj6Gfs+G57oslBQ3GIK65bxupUdCTrQ8tkXLByDEaT6ziutB12enzZq8D2POJECW0uRxujmcESnReES6MdtmwTKLqNG8/wykDAZwTaOFhinWDBbaKCNzxFTLDm5agqk+qHf/OYAUQdNdFrVZ8WzIAsPJG/DZZI+46GGN9PHhnvTf4OdMKiL9It1kd/1YdhqUeMQ9osxxy/4OaaDhhDtsqp438AiRFslE25o2VINBfIFPoxcayTofM9hzdO8xXdhz4GS9CGtFbuPyvFCyhdRAGPrRC6es7dkWZ5bilU5BGDn/5XsbjGnBF9u3MI7Ko9y5BPU0KpvHAeYYRQfkFLwPO6TUysLB4AZNJCQLJr0h/wkIbo+ct4gq3pxJ/GIiBLxo95IKK1D4eZBY7jF/m/iryrWK9FL5HxMu5d9xt5Izay9UoqgJEbh+LBKDPsHRZ8AWGuIoysiE9luP1hFljhYUnOz1JpvdAr1X6CJBs7wco3zPIviO3xB10ae9Rk/C7SjUSEfmEY1xvatk1sZj5K261dKnObU3pS94Lboy88vOOXRrtzI/HGFiA4nhQand06hd2fLL8pbwQW0T51ayccepiwUtS/NYoqqOiZ/svSMR5NyRcSvpZIOjreGLAvslPQdCpfjGf1d4BwynNZxvUU9WOPOL5x9miqhEfwiTTqbYOgtOIDbTiWFBPDIpfcbMqt6h3NijAeLFsCJTI0N/Q9k2jSC51PAnhUK6d67DV4bBuxJVEMXMEsU/ZgEJgFajAWpWpokUOWgPnDyJycuuwGyKPsYA4H9AJaGi4dfMr2JnPdYElqeb+2pFzVYIFaUVJg37bagGJJJBxDcu0PLJef6Ft7Lq3ccUdAwYIviCYo1J2nzEcx8mvPLHWDB/2JiZogsF5FdNi4Fx55HXHvbtc1excACfqWhpbqf5S8GzVcwNOFIBuNkxoPEQb/BhNRKEVhNVlm5PAkS5OzARP0Vna7y83xfHHkySK9RejFECvQ1VEnOEhksMjoUlU962ogfy+47OUGEjTZ6PhuxtHzJmhyxpV5rO4FxCZtE32A95Gj1Dl6JNshMxfB45VyVVfQFZVtUa1WBY5yPnW/PAPpXp9P/h5y44m3gZsW6s94imLMkc/GKZ4KJHKhcgvo0LnHcayV0x4GdQ3dzzQde6hpY/XwcGN6CzZEorgIHxX9CknW8UfTpnge0NDzb6tfxa17Sp4HvpA/zZR3Y8tKlALUcL25AAY7pTuFdUFpHUTezmFG/Ui6t8i300xkj4S1DcBzXkYou+3RIbPbd3yHHzkrbfR6j7+lmGbwsbh61Zfm3s4cbAFCjeiOewF0VGvExva8yKd5q3Yru/WunMOkm973FOgzg8yb/i/pDRGh+3tEzeTElDq6eD05+l+s1g5MBaFdf1eRqoJ7hDrhvN9fqTwRv0CTryjxRQAUXkQF76rj6eLfHAEpuXb3jnbO6KxQeYcmG5fF0FpHGnXoDkhssc8gnLmT4vhavC4of4rSNkCAte5skrzHBWS1SrqG8q3zN9YXkl8DSwFcODVFoHrOy/p32NswED+rJeSGBMrzHxM8d/s27cGKigsPmTTm8f0hjIQ/XptIZ90nBQVMAjeiEbutvzYOdvtv6ReUxSmMixIYwXg/Fe/siOVyGhs42341zdALNAmeO9XGuCTst9lYIqMo7YqeVyvt/9TVYMfplZhN+o9uTN/XmxpdzJOngXsLniHCaMMC6fOcNA0TJiLqYNQDHR0suGD/Ia6MRtbD8q3S/oD15M4ZbT0nEot94BpjD+/Y02J/2Wip3jIgMzsVuHr2vpG4isLdY8p8M1XOLODqSyKcwq/MLnxZuaxXYaowluO0p7h9eBc64ElZlJU160pubyO3EUT/NvqQAPA2ieuyKhXiCZBQtr4lECHt1BPcTlBtqEaZHXuuHUyqMqQtZgRVpYl8S2e3nr5HpoxsR/yf1fvSN8v3IBEhQDx6R7KgIlZecCHUgBzLUnXETHpdMyHeUisC9SxoTaoLHcA41D7qbKxgyGne+iBBElr/fEjd4k7Z7fbQOPZ2pkb2lWphPRxTQ2Uhm4Ccg5SppXQnKwGFfkA447ArvRIb+H5s3YNukaPcRdW0mgzRBYs4wq4MsnSyHunQp8HWC0rrIDrQyIy2Tr+2hkwSzkmmHojyYzZliH2oXSEDBcdgwN4C/AnjOCBdTPyQo7LvoVU0tMYogLy8Tmb8ssAZpMtUuvRMkTq0ZKKFR/IL7TEOsEiqJ6P7gdN846TzP6Ni4hojF/YrvpY5g/Ppy2o/zG8FujSFY/LfJWgdnnSVL1RB7Z7x2MABzBmKT89VNuRoBpAHF/yZzZy7gDxYOGk2PpH3HqCyhaMBvwkJc6eqdq9pILx1SdXnP2hFiPi0TeNi+wpJ14sw7g+bmEW7PU2Is8kHWULKC+jay5qvMKsZy0hDWRZgpAELLL2pdwIcHO4fTBUEgAd1PYxM+bTeZSMwmknGpoDX+xSY6y8XEvbWT3NJ9PHcSaig37POFy7vQNFfXm3Ugzg6W0thHltDRGaKtnk23a+zhW2JTjoEZGCrDGP2yWO285G2mMSuSfSFQb1/51W3+Atm+v0uQ2JE6JqnFXXcR0ER6IlTVORK1xxvamsB1mNk+7UhyqEzmHe3ZG9M1K4TAdm6X4yhS8T77A6OYdrkVu0juQdTiyqLRFixF/fSGEtnsxLrwAD6Op0L+ZEnuklkJcUez7QxEVxw7kBOLnIGM1D5SBZLjZZzoMkMivGgaIuEmyFzejpz/eE2CSUnGRpeECUQerAD3nfmsf3i53BwejNoWovBtwVCcNvLoTcnH11RgO80TpyleT+05UBaFlOAueFau7VkctgHxmLXwwaOTWY0UhIp/IPoQgzB8ooogsO3pFqKSD4O7wGTCowPQCA1sQX6SGI5OqixuhktdVKSUgNWOb5s0GEy6HccTROaNUdWnaE4aXKMCHc74AeCQWL2HHhxuzBXq8fMOhgtV7WcTVOiOI8JRgD2meBTsKY3LQ/WQo/XmEH9+IqXWudAGAYvH43gLMCJlqHjZmygxz1O0eH9Bf/ZeKg1Ak40xAkZshjG7RbzQO/ty4bhSGHfDfGJJZmB8s4YdcA8PlDWNOTCG2XqX6WhkcKGeKxlcixtu0F5TiABqDxw8leghpcBZQT784w258ByF9upPMvI4BH+bi1FfZlsgsJltf8kRi2fwIAkNrp8C9bwoJQSwxMvRnTGEzuFY7Lft6Saq+a7F68DLOvMVEVARurXaUyXPofyd6aF/GuZy7ZBd3i4deLn29Z94OkG2xLtsEOAEA5HG4dlDxoOrEUqRY2zIyWIsEJBVwM9DQ6DUuAKHKqT620sJlLsOsCO5J2IYCdS1HXLRF5wIEuYewFbjlTqu1dHf8xLTToWHnuqC4q4lDEhLNqnirS/TZuvgs6r3/IIvND/53FcMl+LBl+hH0aLoHhJCnOOlrGYQVwPSN0KJ+ZdGMZaJr9085I9yXfn1fd9KQ0dMR+to4Ywq5P4GVOVcux0Fz/4dXpAvSnAUK2tlKjhkzhLa6i4svR8xIz9a6bcwG+Q8cyjnlBKSVtv43qvC4DM5uijh1pO1aw6ozLP8zgRBiGWGKCt+Kt2ekoQOLib5mkzNlhD2UmD5ycqwKf2HS7WZ3J1H4o5h4lKz+9R/UNaYG1aIVF3X1jZrvBPc0I2KT1Dq+VnSzNa7FiXbaq9uCyiS/3J2tD+ocs4fpcqB9FTYBB5aEB9drdzy+PjxURMlI0cpniKor/vyreYSngi51oRcOydS52dXHbVJCFCsN9SFGwkOIU8+6mq8VIpkt6ST0+8demeuj2QXoRWdBLOLK4gp3Y9psC2pTVQRdf5bpbWIk3Br+8l4EKgScazIirc1MnUTMQlLsB80/6NT2zFPOnzmvQwqEkIeD1+ZaeTryyLs9in1jyIbyzVsmzZAxcsVt1gIAvu+66KYJp05c3+weOUs2oJBs4t2Y7evqohWkwQWt9X8rr5cMMCsBoEDISaU9s6AjhzG0Nf/Iu0d5uXhFKzQb0aRbk7E201tB8sOd3ri2KnFb0PfNmEH0JX6DKMwg1+cLMLO4Cgdflrwcg8dghwpBVZ37sx5HZQoD/cXmuXpVEVRTo0aY6FnYqT9jpwRSfoYdRWXfM+8r/ybKQD56wHxgnf1vChUilw1361nhneb9R5U9ioeH+hVIiTdP6z7Uwn4aCvdPNV6UCsuT0xFWG/a6mdOHimHmytmD/1TxlmYFD72RAuQVHcwuFd5nbnlpXKWAvIbLbesB97bCjrEJX27wxjRgdqRjhEcpEElpTDsCg7Qd00iRCjOWlbM4PKYlJP7HWhw0r19JqViEL6sxcvXskPkiVLEDHxC1ro714BK0/Sc2eacrARKrcPuX3PgUTY0jETOnhfXqiSwcqySczfp8ur4050d0T0Gm+MICSB0q1+ULGQYHManFY6pM5BX8KaUKzWB8jSVFPHaIXviWZjfY+FYRkzDSoEM3aRf5TtWGRDtCD9qm6f2TZolH6H659h9koqMZLYCbATzwuF7fYHp7ZtRgxJlJnWmo79zEFnn/s0z/UGbUfI9pfcTcgyd9zRhbOilZqcTW7zh9vwj98TrD3qT7zw+AzagnmouqxZG6YyyDEPzONfBvUByZHjvZ15RoJFDn2c9XDExDNqvZP1nQtI45cxeSKtD2fu+2CdIHHWVIrOOAoIPW/nQZrej97nhcCVXgX5BFEfsznCG7hX2So9H5jD5vN9MWr6F0LA8htG+ZqBTFjrimwvAdfB1lnQGh+pKg6E9HH3OkbQwz9Qdzv5MQtsXkFli1zZPTZSEOoekcSZ87Ezc49yoH8KANa708GFn+dMhByu+MTuyWQsmwTPKneCEsTTtM84zMZoktGYeDd0pyZdMaXdIkEyOEVPhACejLo1oX/8ooNqxGzl1WEb+18/aJQzkb9bUhKJ+0GiDcjRkDMatFONZlSspUXFjDwhQMKAWisdWiWn3szas55XzmFBXkSNcbj8uMNxTWzbL40EqwnAna4ggc6dk6rASolhpVcLEyTpJ0bPyURvsndUdDLWqghwS8+ttEhc5pMC9jVYJ26M37t89z3KUURGMpV5Gr8q3xmqppUajC1mhIfBISy9TEgpisZjyMJbpWXrND1vcKWlrThs/k4uIQpe2ujz2go5r2psdBGlIoSu91PVh0y3qpgua/nhbggFtuVoVaUrj+fNF0GfJaJzVH58wj8in+N8gRSZFlH4QBozlvLj4zH7kRFl7zSk7L2NysltP04gM+qshCB+9//hmwPrnxyGEEqcJLytMPKSyLteWeEndZSGEKGpJA1YGoKVCtJS8oowfsdb0nfs/G3FK0fgvfK1R9iYGFVrbTx/NGKwMBWbzm4TQxefLy175Xbb25CxhD2kW+So80+Plo5Q8c59QLUMAySgOpLN+Sq5PvqxHwylle9EjD7J0/RGsSPGLE8Nt6A5ZmmA2T+VBe/7FTqvu+AU0Som3/TdFyJsEhGmj2mhPGqcxXi+Di6hvIF9YdVyImMflsi3zAY+1BWzWt9pvGyuZTVh9p4Sng2HiudE9gYhqXufCfKbDcgn7If99Xf4ALrXDURZOu+iz9PzbekqxZN8HKbSMgEt+YdnQvwBwzbtkS3JK8G0WL33exRhhwBDlTO4s/qtxUbMEvSOzj9gE/eU8wbeI5ShMkGIoswTDw8eNR7ky+be3rXm4UQOC8tLEh/7W3h2unwDb2akt11Ir3jhVNCI+tX7RHq7/YqUoBRb5hwlW8CKt+NaHsmJx+cLYIb/fBRdRojw8RDZPmAIOpGXrclVVw58Swr/i3KYDo8I6zMbT8qBEm/OXynkL0z0g6K7iQvuIM04jlpFg48SdCCg2WnXGNQNNyZY/14Q1pVSR+fDsLmP7+Nli5/AvVwfnK+P0Jtf3ck/+QfWhrn8HqXIhN2vvOo8VfQNOczBuvjCsMt23BdU8lbzpja0v5RjB+u0T3D5fMf4h1GRP5OvAAoOpjv1qVIT9j3ugXslDaMWWFmGdn/c1bg2/omFTesbvMCbLEOMrOxe3IcZpxeKt2IuVORJSnDi+cpy45YStei4wKGYJn0JFKgNzn+sMJD/5kAYSvYB8+s0BVA8IQm9LkJwSKOH1IapGTZAsn9wj+96Er7+rV3HXblKH9ifjC+AmFy7r72se9IvolF6iK/G9jeC6c6It0+wg4n6K0a1yQ0iF/To5bBRjb3IxVkNimU30gv8KUc/FXMVo/4U6AgINya3MY/S4b1M/6da0VrliHIkPhbrU7GAmRqfkW6ZsnAOzaTNh0FppRMxkwk1KogcDxdzJ7eLsr79/DMLXFxCkfX4Srr6lAZikp3le50T7ZriivlPUNSXtVlO15p9HolAJl+51TGXxa65Wuy8PLtu2mmkaQttMVSdruHYc3OUHujGrlv4i+pILGebba9fknxm/iJOzGJl6vRo9fLo+nt4S2kpx3AX02SgqbgNq0OiKwEs9XvLVX1+lUHGok7oEZEj+bu0b+8+lBaRn2VC2Fn+wAqUsSIbaOPE50UFyH4wNe+IatkcuNcMA52QopZ2miFQKmT115BJt2/ai1f+zNaAEVJ2Dun5qiI/3DbmY5MAGQX1DRJVAL/un6/0GnU5zZ9WAS0Cwynm5482+4ivk4kKWVq2aTZ7l+snQZSci0sLAWtvkKGl5cNPVjKGUdC8UvQkoTbjkTvq6/NtvCN2zlxGel7jaRSSzWr1p5s2P2XBX+AkxrMWEk1dKohY1dCL5rjpGHCXVowh5yjnRFpTgFrz5JD5+OEsb4Iw08R5KgDNbq8hV+XfVsAot8Vrx2iqtWljjkkEU0NnfpdSKk1YiPAIwhCKbrA0hlId8RyobB5f+TW9QyxXyT79U7ZZqdFY1ouCI8dW8ZFaHFOPqfhTceG/HEJdhnJId3Gv1QOluoQEeM6w4ULGVJijkX6ZShwrRDMwfqNEwEmkr9S7xyfXEFz3k/Ap2fnXcmU9HwDfoXcGW82DBKAqq7TmJcU4EEsPdxBmZsPpcWhfpU3d8K4NIsobv3T/OXs5YdBse8Y+xWqwxmVs/C0ySGjl3i1W1HzUkMBCrPRL181MzSZYEzyEZ34cJs82OTvKwcHZYLYvVaizg0BvK9JNfqiMl6P+HryZN2pVniiM4ikVgRP3I+oC2+X/k4gjK/sLzGz8T/ahI7mulfWtDqt6hVopvZbkHNlogzRXChn/7gQJJ7ozumG6hpLmA6mDe5X49X3DFWBA4SCzDGqpRZa8okbSzZFoV4nlDdVjBIxAmG+o8+JDKgOvFFVxZKPvQ+YxibiO4fnh0jMW33pPHU2LOkE3tcg3fsB+Q9MbolriIcPdxu16yMpiUrbodjCFIN5b0iYrzhFMfO5IciHjE17frruQ5C85O4kWzzAWxT5j9LyJMKHytW9plLzsdRZ9dMuHHTTZkC9MfGoDpPe5sq0bmnlcECBrQa2aT3IaROOnqS2R6LMpW/MLMQ3wP65ir+huZS7MPg4K2wBsXHSlP6LjMoH+GH5BnoJ8oiZSQrDpLeCnyrz7TkKCdvpqphzEIhQddqjIeWeO2KCeZ9kmhjRRH7dcOofCdKx3nP+aL4S5fx+gn9HPCVcGLWL09APmD/ESuOLedXjovSBAf1kdRlTZkcsAxhVBl5IEwqBmgLpnZTlxLDvI3WTUujZislSD480XS8Z7l8YEFRUCoJ5H36y6FOKiYQSNWEhSpDyyP7RJUSaBKZy1tVKaaCp69E0/6OEcxq/gHeKVGRl0e91BS4XgVfTcyNN78+ST0MdSmRgnaNJynuWVz/N3qNtTOSf31nRh/TxcPeq8o6LzaBizD7Agehw+QYaP4B1zhLy7C7ODkCKqP/MZBtb2cApnXBFWZ2n6HWHv1HlQmbqwnCmHZzb4GXGB+F1gpnqL2xWCQqpfFYEQJmCNvlwiTsL+3Ei1AwEK1dtlMZPDG4AxHHdGjJA3ANTjR8RKE3pmr2b2MrZKrAOm0YhZRybvz3sxkxhXnp4604XtJrugam4nlFqGbIzZOOs30DmUEPTFjJ5FPoxpCzkPRW19WePmJPOfGiYXK1i8JBpRlxwLYuqIapbBE4vtXAVbvIWZWKHJSyvQ3dBTQFkIbvuLIpykPBsui7JP+wjbK7Z5D3XC1QOKAVkP1+rQWqwjimu1TrNqMZN8KehIgwNOwHnmrm6sptiJvwr1O77oucz45PXenp23vzSezWc8k3yMRCJj3lDdvq+NXOPkEzkUyYeAkIPl1n5IfVy9zebP7tHRcFTh6Z5i1NQPCpu6TeiU6g5hfKih7RxWgU+8Sy0Ppub2uW1BBYq9qJed5K6K/kGY2vKIYoNNx9DFpDg+6xqIPQPQJ/BDeT32Hi0YaY+ZyE7KYKMdWiils44lC1mRKgDanQHEVyRcfI1UZwPjlQ9aQaRBKG2Q0dyOpljWKqVuOwy5L3iKKJb3XU2CWJBnfKKqn6/unHwbe0aPBnFwpar5O2vEGs+xhb1Svpcu5A8IOuzHFVaO7/TAs7mSe+aI5dK+pXrIQ8koUn1IfE8DU8flaBZ8Oc+oupISBmbDrB1rKlKeYOSYhOEn+2I7B9Fxtc9y2ThqRFmUOTFIMdrNfr9czKOZUxhr3RwIwQkln7PVGRyKNq4CKdj4jDqkPH3xnWCm6/2axUSq9fRufBVKuwSxbaslzXM/DSWhkANFnvqQ61b9V/mbI1qzf7Vqu4JGwtrIY63u+5pyaIc/QR3QlvM8K9WHHorPzIg1gV6U5bO50MeAM2ht8j9A5eUZnHBfpd/RQ0vbedAKFT0Wvf+R3dlpvq5NC5ISD4kjKvjvqJXHJiImwv8CX/aOWTA6GixUiL6DJ7MDIQvfp1imjSA23OD7sSNOoST6iMY6E6gMIQeF2Bd1kRPkyan/ZHKS5a/InUZxZVY2YPsIPTFWU1Q36UGvPv5+jhAjL/8OyBsCnkpfafvLodREyll9tTiLoax2JkorpPsKDYhiiXiqUSGwzZrBQG7TSUUrIHk1Ox1kM77odgXN3S//pI7/01OqcGe9eZq+v4HhMJTeN0XYmbwLPZUnZJ0FSnYqjWKC4wz0YuaX8GV+vQZNIM1VIGykvfnAnyt2hLXKM/PMmEh89ktvN3uj/VgzLdxMXWqVF5mv+7G7G8/f4H5m4i2OIbVAMr5km/IEMTyNS7/lzCVoxCHjh5/HTtracEjHrOqsrTTKOgSXSD4gD/sdJLqChFYlofUUCViy9jWdZUGIdhcSWhWw31L4bxUtl/YlCXG8orD9Zn5SRogKsVtxqEe5cby0PJTAhYM6eRGgO3XTqeuFyMZ5SBlHHg3F5GFhCH5mdI10wlv485xDkgqGeJ+WB0a/IXl4S1pH1h1lTQjofoxiI4iPKMqTYggWK8jfugLQ2suVTmloI1USrQP0NpnGoOJhWbgfXIBPfm4AWQ376t+vesNj2/23gyNVHtcs+WmPqORYSJuVfcCiZ4oKZSBKzieFFHx4zpAhf/Ftynb+9P4qtMHp2vCaCtPqK9Nw7ThwurQAarVxzqbLjr4T7KA8R6jNARAK6YTtmn+AJLpkkmawwMjfOeSW//kfLwW4KC4rUfwUOqbA7hUxKku5Ut5lIlJnDQgGi7E7CRgr2o4Dqe2wQdtA2CBBsa0CQFcBjlKDkzDCR+A/+1syE4YDEoXnDBFg7wyCiUsRdZ9dJbOCfteR56VCd7IRrZ3Rp19IER3A+MTam7Jq42DZ8ygbE4gxJo5qkPfq4gWB0nLS7bveB5CdelByRzoeq1oThYlAanhAqnQOj+8BIZBOUu86QePCnMx31PkLjZMCVlq071XpcnUNbA3WdGck1ma3eJXwCkNIcTIxVkr7pGGLDnhoCsPHEZEe6WJ5H+hdkrW+3EnkLS3I51CIefK6Vpp2dSzGU0hw/9UfoUdNrvkft8SbYXNmSwLEFDfni4AEWiQSlrLePHNBY0R3sMXewOkuUsM+htAtjsSxpQPalDjyMzEzbF5lHPa/MmupjJu4LFX+awfBsV4U6AqnBo/a8vdbadGdkYPuRI2si4JFvcNmoGXRwwMM5Ybu1bEoOiQBRBTg3+LcypNAiH/epckouS848sCUGaUySP7pyOqPPExy5u3axZxsOiQEJ9F527Jg+5cvetOt26EzjbPdV1K2Xr1lFNkfCRgMERW+/zkKVqo/VZb+k1UCCDbZkoIa7jHgYTbI8ByWHN5jXBQljxycO4lyOfk68qoy/uQstX5TnnVjsrPaS4ZD2La0a81TOTef84GbvCsB2qrAVvVVOLMJxnYFK9VbcOcPZZ9OYT4yzrl9JLI2lPhIQgfurrSNMEaaswa2yJlICK9rIc4TErvc/u6PYHZdWb5SYBQFzjgfwjcw3vMIDJCd3GUud4cDPBvjzrDLuJMcI1gqLdRQzYhlaYpslBjY96yJbUHC3NZJFy35C1taxzh2ZRc2F9GGtvd2ub4gGNDLeXtymLLNAGXurUIO5V7p038OYp+JJk37sACAKE4yFuMmnnWf/DVkIf9wzL/cW9pLmjR90658c4bdjpBS+hOFwqVsum/TvZ2ypLryEg3Pljjse0YUtsNSlDbOvx7p2FvWAGfErmJ4PAAfUJhAZGlZUH9apWzI+bG4IQz8zrdl8OYgwkUbigtthPQutDC/fFM1nXwhIXKNcKsz831RF+pum98Yo4UAkXPJFmSKKsKxGZ9ouKsN2xfs/FnQT7a347Vl6La+SCs93fu4OF8Gte1PfYMNnPF3JS6EoJ7jcwLjqq7Q81PfnqU4sb2N9GISEdKoigasyXZoKfiA64o/2dka+AU7FMwz4DID+izo6GWVqYIVvi+jeeN34cXC7pnjTlpsUALEVzEa5uXxa9QNEajt7J0TVMxSRD5waconO8ob281vBU+uUwnrGzNXKln+ZyXRpNNUOPtchhv+6LvdeiLqhMQqInNWQ6qsDWvemOuL9njJmuM3pFltCMJsWNkr6YmaXvjeJIcB7FNvVvADxb2vbCBSIv6XIqMoMbawxcmvl/CMjl4biQe/CsJY0hKHHLjvqBTEPUm3zuklSjFr0EkkU8DzifRuKzAypA8WcMz2wYSz4EXAYs4JjjjRglD5elQyzNcqXcMlKX0vguaMx3X8WcAXlGz5EOFz6877ZBSYr06cf2+m+PJigZV83HGjCIWbKeRxZGUVyWQQCwMJxwfnHXmodvFeJuqqxE2k4XBttu5AJbTVJ4e5/k6ckiaAodYU64DjC+zodSNvAiZqUDS6IAJMKyNr1zVdCRYLARXGTmA382AMZae/8Xuo7hlp5+K4bpOs3HVJwYsiBdcqc1WUFPbkniMz17U+1P5/KG76o6tSIMNiQBxlD4EoCV4nGz0oYATc01vPOwqQpl4IDWH/kdoGOsWO+at7kAWQ9a/KxEWv/nWiXmHrJnky5vXBGiV5/Ccfi9bb5cNfnWySXR9gfjatWOL6KEkCJZGt7V6DfRa2Y9GA8LV7d0lIPcGFcJDFE5xSRl/5w+lre2QOQHhQtNoUwlqe2FwqjM+N+wV3eXzG9jrurRQgocYs2alSG1zXDBrkuqHkZwk+H/Rb5f2CIr/2Pbr1TqHS7d1RIPBkFOJUB+Wec0piNK98wREMlA1JTMpxGxUAUO/8jOrOMiabc7ckypY8CopAdqAQXrsaoomT7sEcLqMlv5xhWqIpV3fwX8sjYMEqCRmssp6CcBCHR8guxIJnIp1c+zCLgwDclGWYx21P8xyzGV+clrUCkcIInM/fjZGYYTyNdB7iINC5w2WucFxgLN1S7DhptBBCpKibvoZTtcj63uJpiqoK01aLcfUUxvQta+01ssugQnW7B5ElfGbwuiIqr/AG5k/Dbr1t4mvH4QfXH8wbMcBgbRaPiTaKb0zmPiMhEgv4z/LZs1tfG5wRuc3J3CeQZo8jhAMzhJgGzVyVo5EGY8N9u6bPAaafwAA+G+s1FphKNgGqGkUkarDMpv2wG96hXMB8d6jqF9AryrNFQkG+cs/fO+kIVKk4L2zOH6c5u0SptVRxyuVopnclpKvM3gAk7tPiQWj+g4CP0Ogz/xBi/FjAOzmf51BpDzM7ODyYpXDgP3aI4uPd68D74PyOenkIA8pNaJN+oDqi18TuIyBCvUZwTRa51TBlBgkxqIPOjCSmpZV9lFjMyxuRlaHIdAN0rM5CnNiLgufVUCa8ScCbbDfnsZmaOxhP2davQ5icPzfEx/03SniIeuChOQ0Zi6O22SUFjPLzqNXWJ5OzSmy/XcQWcgN/tTf74J2bTg1h6/dP6R7DCiA8t/MgfXvvPCjZTpPao8MQTRsEY7byQ+F2U0ctnGmEZv8a4FhKgULNIh2cdYRIjUuQvSpAg+5/K0F0gbbZeuYt+Ty2eMSzkvN0Qi8pej8WBdOho4VLxVobDA3trGmM1cU+C6wVqcJC1AB1lr6GRYN5SQF74zwX1m+kJ7Ld7g260GpBm+Hj0mHmsqntWcuzSbvhEqP6QLmtTeXm6I5FoO//ptOwX3wMURgLGIVtz8unO8K/Uk+DjDmlhAFFtpUQ1QLJfC/SsXiKa6oZko5lykyDlL+fZyCxH3ySAg9NP0owzzLE0zsIjXD5AnUnPZlVVG5PhfQYuZWwulR/vp+fsTvwXURUnkpNRCojFgK8CiwkqmqllQTznCzCxkDG3xPX1rzMaxG54nTHb+6K3fmQQjQTAswwp5iOIYYmAAZUHCLAYhzdKpRU0hr4+4K77B5v7XFZASm2weASb56y2zmFPjaUHaPAwKXJ0YLgUiabw7xYqsQsYthBM6NZl9JyDVkxrMguKBVTqtl0xqXNYKX0d5xTYHeKuIZd03qMGX5IY1/XTcN63IfahEd7S5XvcbA6onBgTSg22zLyoaJ18eXWAiAeMXg1jvBGTuvo25HIhxSMVcJZWmX24lDwgZAiotF7jrSjl/ijvLwYDcesjDx9MrYBHvT/lSkjoTbgEwGnYg/Sj+VW2fYGSNn3cV8QfDZiSKxwAf1QPY7EtufpHsgWwSLswQiiL/EVE7HeyQXlGWoFS9MpxuYJ8VpLyBX9ZeP3ee7GfzJExruH0hzzo4yg1Ri3F546Fo9js9eGZ9e32yGrG2nvP7SqzH1aSKLsM3W1OVebYRFDhdHBVUOxnPNCKiALfy//BfYjTdmfiSY0TxGy0Y9aXrIh//Eb/n5phXmaHe7gYTUFzx56apV8i5mN2hjV4SB1fCQO7vgEG49KLQzyxE/HJnTBfoWkBmv81vLcjlYq+VjWuAU0SufyxUIWC0m1tmSInNh2nR3iRj7BLASZzbGLCGTNgmresgZspw7EwHPkQh3MZNcbng1cDcJ2NUxK1rXSQ2Xet7V32vutkKT+W1ar/OKgV3lUERdBGx10WJAEXFiULjeDvMhDcEbU1RI9HofmGBBWOXHrgLxfknyVn41JxENm78sphugFc2kFTqOqVhgVcwyJhDUvogJhJOVcbiawS2ZM8/HgBe6j53zfQ/E3fUmYmRPNM/WtULqi6/JimQ55nz8TeazhqYCXuaWL2CkrhWcJgmgbUmDgA0aoGHsceWIwL3eBmoerBRBEKhsa9DfRndM6tUTIsNomEb/0saTPgbMIwDkCkMiklMM/k/qlbI4Nv9tlgRWuzMaWkG7q4T53NS6Lew6vDeWJV18/CBAtOWToNC7/2jhYZVL71TZDn0+ecLJh8/EELF/7qwtZrsv+60D7kL08dGAIaMTYmwQUXfkd9lDbbz8j6W+/KeUqXx9eCTJ/Sqzh1ovb10CiP5WlD+XZ+9qsE6kq1m6xoqYNe1nW1ePWquHRLgCWJBbmkAmOiGupl0JAwhFCIlo05BLuB07avxFPH9G+AYqNCJGhxinCFlCFugkGW6VzF9hNAVwTzpgTVO8PW4AAvhOyJxRFfXRUC+9PmpxACOj0tnwRoeAb50HmnrzybeLr5sz1oP4o9cZz7XoAlbK/PPFjJUSXKej3iAcGQk74bZhfHwl18jyRlu0dhpH8C9o6iPgKE88aZ2g07xzdWvEccdR0SfcAy2XrZ/utbwmQ7RjfAY8qhiuZLnFir4tLK9NiG9vzQpvMCeiWV7LmyWeygBLLtIEjk/TZ5QN4aqIwFaNyDhgqNrcpqSD8dPEnpdA45vqnfX2cfNiSRyr/i1dTHccG9h3f1DPudP4tqxdHiQYf/4EkwHjsklbIBbKhFEBSWYsKQ0fb25/VQKSycpBSiI3T1jj9mGxNO6QDHeGRQ6CLCoHijkrv3piqUoKoWSjSngCq1wPhPE3QwrFOtAx/NEkJ/cm9tizxQ3nusYTqbwUCCfok6Q+Wfp+ZOwyO7Yt8jCvqSInGLPvPGCLm9vKc84nrZFv8sucYXmRNbqWhnDn9/1Ddc9b4/+TPB2VJ7SqTiWYkeZIN5UJMLN8tVz/MlGTVJS9FFiCS1zqBp4AZuOw6IqLYRY/wKVk919ozJ/HWSyCP8Z3GA7ANKhdpdCRFvQn/N9pj100ppdhJHJXg35U5RW57nYGeOGA5ofNc3Rw4vkXcF4RSEf/dLkvhcNASW1b426P2+AgbwkIjhHq2RVzIAnpXVwXldD5UVWyRWsyfjxGMzsZMy+Am318anfEKd9yg82h+UUQtfZ0EAxw4Mth3BsQgppstGvL662ylzSPno68FytQltCgQAKEb2Lxt23Hya5jjoxuLuoUBNYXf2BG2ny4msXatj9NoY/2TaaKgTzmqxuu3VE8G24EJ/dMlgwpCs3DKRgWQttlAYcaV8/4+qiKBoMif7jP8bxUr71Bk2sKDFD8N9ZWMlEkufNXrCtHxsWU8n40BbpShuEiEXrMSKrsocINEz4uB8pG/EI+MMxdZbuKa2YyZQAxzc4tPILDnM2hN8ET37Gq/6/l0AneYSGYoLx6GZnt4dJOxbjer34qr8LLZmJRXwW5VasBbspzqMF7w4bESELCc8M6lpxVB/he9QRGB5ej9coAhOwdbazwyfa/j9AbLTBbCD7WGk2GRVPhKjw9/nzO2VnkNMisp00MoQvo1bcFsQR/w9UOrRokk5qI7N3NFZDQ2uuP3udSGoXGKup8J4YfB2+rSk+KUKiljlAFlOzzcnp3qhTIEbKfd7xxzc4cSb+agwJJJVCaNp7fFbt9+rmT5fzd1IdJv2t8PzLckgNwbgZeQFtBTd53PDiX2pyY3VmBB/rWgFqk26JgehC8o/ky9UwVS3SuqS85szE9XSFdHprE8vemO/Am3lJf3gjzBT1WmcDCu0HKrCB2MDJyX6yGHtDkTSXsJAqkENRQMNMLyxQI0mK2R0ZEYuVufsF5O5UQq+eVPJ8FHUw75DKsaYpYTPXxTQuFm5rkLMWlSlVvVp7wi8FtkXa0xVmPSFYvqgBON299XSWgoK1WWDWFmunkAp0Ppo2uwI8qIAUjJX96ngi1UXE6COzEcfYnd3oPTDYF++toMayeyjUNLGq//WNO5vkSbEp6vJxmG0n8+9m2UIkBBgpL8jv+GeKQ3uPlzRNhIEtIVg8gEDpkd8r75M+PV+hU5EwM3EKVB26ReWoIQfocLoRQlsK8GFl0XROjTuO2+QkgYyJFTcE5VZtpBR6cm76vyDMOFxEdxCtv29JeY0ThQIvz2li6sSN9Ss3nPHhQDxsxWhKNhOFW4O7sjVU4oUr7R+VZT5b846TKdcKzzv+/smZT64u7r27N3OE5+JzpYitnAP8OBQv2wcC6tyehOS19dn4yq/pePH2zkAWpFRixeXR9dqCsqG988WRKH1SYhRPZ7J0odDjj+lqjj0lGhOVFPEIFS3kxZ7FcAEGOkHjt2io77rxwAMBth+n5Mig7ebw8DWOIxt3MtMNpzIpI0Y6kHauF9mrFrM9NuBwapUqQ9uWsJjz8fZ9KbSI++52/Sg3t2/yZCiWKYH0SZPVq3meC2FzPzL/wywv5WAU5Rtw+fFg8EvUat8KZSU7X4uXcNJ5v5q2NS0dnHWF1KoSTJM/+OHRixjuL4Njd6WGdvjICrlRU3jzL70mHFEYUREjfqofdN7ZHyexEcJRUF6D4RfQgEYp/U0Szq6Gh4mTBNo6H1TWT/mYnzDYrt9/EUNEYcJcn6pU1Jr1AU33ykQ6dQH2YD7D0cz95MeNxDOMLBSMPcB6BbzxlTxLHyoves7DFe+7r7/j499bPhZ2jJ3eoJMBpt2yhy7LQsKGUzDiwWMw//fl5rUShti1/dWH7KJkmMCszJpuFSDGUgMy7oJqeBCxNUXOl56pIyUiuJmJzVPmC5igCkNYebiXu/TSmLaIgMPjZ7Kc3uQXTCARFYjQL056G6Yz8KfBnhMDmqAb14yRZuULYBRWL3Vf62UTOcSr6bDbGcqHbfVunAss/fK4liq2Q1hAA655ckzrRi0B46UH4pr4I/QthR8NVXZoYKISmonzKr3d4kxSnSIw3RNL5WL1GQ09XnzWHulhphoBLrkX6iXPhIoGBrOCS3mr4Z/vYZK40R2DthYQQzOZDrpuu3IhhTugqukPDKUSgxiIIu7FWwryMlMPJdIPpDO5YWFe0LJewLNSJcetMViED2KgsZGkwcrHGYSO4URpys4lx+aD4tGHHX5GI+Q3pXrOmCbxK8/zhQje2q2v5yRcWzVzQlfccgDRIKRDjwRMUOQ4At7Uv9pqL2hbgGhToqb15w3aI4IXBLUwU0eKRgLoTuQDt6qGQBMKuK45L9+nXcmuGwEs1EqRzqIg1OZA4yNIPbtmjaFbtwURYM6CA8Vi8R6J21uK/jf1bOOWDACbKEKj70sn8s3SR2y/VBO4hr+DS9V+O4rupY7OFatoG6TVLVjdXgNS8TxBoJJKzq1e1Ubl8HMQ26+YJjki7q07XkPQKeYPKF8byGXmIyurfubDWIsQAM8hxM9SUylFGVr2EuNHvqN2M9qbOfjyWCgsCv9TLfkU/UFofnHgC7AKKgRYpklTRov3yATQO2ywNV1vdHiRbnxgbVWzWjUGVsjIxT04dcB16v7txLaZW9s9uENmKYqZ7hmOnSMToBgKaSEGf1P97+j4wlWdCVO2deBNkzNpeVJYTbByIKc+BmoCY8raGHPl0EEzZgn6DkRZEWsN+cmekzr7PmRRStbOMxed5AW2U8PdR9A0jFhOqhwy6IIoVSkdwkO0H83JMaVFc2aq6nxbxmez5NjRCfs1d0fAFNASQRU5iVL8NXI+5crzUcKllhi16FzDkcjyD7Nb0x3DXb37gOEut52OqhL+KCx7vFuddET51ylb/14XSQpqsDb6Owxmrv1ME1+C9gy1V+kiTy6SkSBX1yKduRYl+XdADwL4iXlfjDYfXgNQhI97IDktwFyVDVD9J1bLn2mSWvdHBv1GpLXbmgmAG1qMONqL4wMe1X9yGQQg7mKKU2OMP2ZlLcKIjjWaTX8qfqTF4aKdls4vCU+8C8x7bsZ5uqaDVH8Rn+0G7eWiBCCEEB9kg2c5KNPfiWU+K1fbjXJLTn/DjsyvRDnTR2iKeD+cjYWFmh9qhZn41GbZj/A7lAAbejPM7Fu0/oeqW8eVdJPaGwyZ/giMDsKvpyxfqAL1dCQ3q4snf2rlv084ZyCAV2JrRDgoEDNRbi1aiLXakd1IrztWTCemNIMAgOl1VKT1Q8PYcuNYY+wRvax/sI56VgYo4MWk+IUhMbNq+crMBCC3veRiXTNJeF9gtu+i09UKh+gzOvHRTdoufio1xyZy81IChosd46SpABNeZdZNtfWE32FRQIqr9hU88C0N4q4caCefJWaTM0cSBZ2n7BXvBf2i5FDxZJj4ULL3gCixkM7gxGngLYQklE=">
            <a:extLst>
              <a:ext uri="{FF2B5EF4-FFF2-40B4-BE49-F238E27FC236}">
                <a16:creationId xmlns:a16="http://schemas.microsoft.com/office/drawing/2014/main" id="{00274750-460F-4179-94AF-B0BFBD5B11AB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5442740" y="2362268"/>
            <a:ext cx="6392424" cy="4044691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btfpNotesBox304406">
            <a:extLst>
              <a:ext uri="{FF2B5EF4-FFF2-40B4-BE49-F238E27FC236}">
                <a16:creationId xmlns:a16="http://schemas.microsoft.com/office/drawing/2014/main" id="{00BA33E7-4BBA-D49B-124A-416815A58E74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There are no reviews for Peer 9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Source: Google Reviews; OpenAI GPT analysis</a:t>
            </a:r>
          </a:p>
        </p:txBody>
      </p:sp>
      <p:grpSp>
        <p:nvGrpSpPr>
          <p:cNvPr id="42" name="btfpColumnIndicatorGroup2">
            <a:extLst>
              <a:ext uri="{FF2B5EF4-FFF2-40B4-BE49-F238E27FC236}">
                <a16:creationId xmlns:a16="http://schemas.microsoft.com/office/drawing/2014/main" id="{56F9B90A-DF6C-478C-AE8A-111A6B2E3D3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0" name="btfpColumnGapBlocker938214">
              <a:extLst>
                <a:ext uri="{FF2B5EF4-FFF2-40B4-BE49-F238E27FC236}">
                  <a16:creationId xmlns:a16="http://schemas.microsoft.com/office/drawing/2014/main" id="{6009F4A3-89E5-41D3-A501-90599CCE141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776656">
              <a:extLst>
                <a:ext uri="{FF2B5EF4-FFF2-40B4-BE49-F238E27FC236}">
                  <a16:creationId xmlns:a16="http://schemas.microsoft.com/office/drawing/2014/main" id="{FBC57C8C-9926-43D0-9258-F56E840654F5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894454">
              <a:extLst>
                <a:ext uri="{FF2B5EF4-FFF2-40B4-BE49-F238E27FC236}">
                  <a16:creationId xmlns:a16="http://schemas.microsoft.com/office/drawing/2014/main" id="{E5A9DF89-D51C-4A6B-8915-CDED190674CC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478818">
              <a:extLst>
                <a:ext uri="{FF2B5EF4-FFF2-40B4-BE49-F238E27FC236}">
                  <a16:creationId xmlns:a16="http://schemas.microsoft.com/office/drawing/2014/main" id="{47A48B91-3E7F-4438-A8D5-2A9105C4FD89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btfpColumnGapBlocker717055">
              <a:extLst>
                <a:ext uri="{FF2B5EF4-FFF2-40B4-BE49-F238E27FC236}">
                  <a16:creationId xmlns:a16="http://schemas.microsoft.com/office/drawing/2014/main" id="{0A85CE3A-C54A-47FE-AD97-70C2D2E35E4F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550059">
              <a:extLst>
                <a:ext uri="{FF2B5EF4-FFF2-40B4-BE49-F238E27FC236}">
                  <a16:creationId xmlns:a16="http://schemas.microsoft.com/office/drawing/2014/main" id="{4F2A0287-1EEB-4D15-A9EB-D1D4494BA0D2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390625">
              <a:extLst>
                <a:ext uri="{FF2B5EF4-FFF2-40B4-BE49-F238E27FC236}">
                  <a16:creationId xmlns:a16="http://schemas.microsoft.com/office/drawing/2014/main" id="{2F6C9362-E626-4137-BBDB-F06AEB942D6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btfpColumnIndicatorGroup1">
            <a:extLst>
              <a:ext uri="{FF2B5EF4-FFF2-40B4-BE49-F238E27FC236}">
                <a16:creationId xmlns:a16="http://schemas.microsoft.com/office/drawing/2014/main" id="{1CFF624F-1C02-4D48-BFBB-B2461E5DF9F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9" name="btfpColumnGapBlocker686788">
              <a:extLst>
                <a:ext uri="{FF2B5EF4-FFF2-40B4-BE49-F238E27FC236}">
                  <a16:creationId xmlns:a16="http://schemas.microsoft.com/office/drawing/2014/main" id="{9E9C962F-0893-4B90-ACC5-F999C4852AA0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7" name="btfpColumnGapBlocker561003">
              <a:extLst>
                <a:ext uri="{FF2B5EF4-FFF2-40B4-BE49-F238E27FC236}">
                  <a16:creationId xmlns:a16="http://schemas.microsoft.com/office/drawing/2014/main" id="{90366208-3140-4E61-A7A1-4FE3AE6A157F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35" name="btfpColumnIndicator577557">
              <a:extLst>
                <a:ext uri="{FF2B5EF4-FFF2-40B4-BE49-F238E27FC236}">
                  <a16:creationId xmlns:a16="http://schemas.microsoft.com/office/drawing/2014/main" id="{C915305F-514C-4490-90AB-42696F6E8405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396055">
              <a:extLst>
                <a:ext uri="{FF2B5EF4-FFF2-40B4-BE49-F238E27FC236}">
                  <a16:creationId xmlns:a16="http://schemas.microsoft.com/office/drawing/2014/main" id="{0872EA5A-8A82-49CD-896E-C64BBA820B9E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btfpColumnGapBlocker569566">
              <a:extLst>
                <a:ext uri="{FF2B5EF4-FFF2-40B4-BE49-F238E27FC236}">
                  <a16:creationId xmlns:a16="http://schemas.microsoft.com/office/drawing/2014/main" id="{50788AB6-47A6-4098-950B-80A6E8DA970E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435129">
              <a:extLst>
                <a:ext uri="{FF2B5EF4-FFF2-40B4-BE49-F238E27FC236}">
                  <a16:creationId xmlns:a16="http://schemas.microsoft.com/office/drawing/2014/main" id="{A9DFAECA-E354-4AA8-B955-7908AD836007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656796">
              <a:extLst>
                <a:ext uri="{FF2B5EF4-FFF2-40B4-BE49-F238E27FC236}">
                  <a16:creationId xmlns:a16="http://schemas.microsoft.com/office/drawing/2014/main" id="{F991494C-8BE6-424F-9621-C2AC22D6E9B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E6FFA5D-E1A1-4DE0-8213-E60943844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1"/>
            <a:ext cx="11516676" cy="876687"/>
          </a:xfrm>
        </p:spPr>
        <p:txBody>
          <a:bodyPr vert="horz"/>
          <a:lstStyle/>
          <a:p>
            <a:r>
              <a:rPr lang="en-US" b="1" dirty="0"/>
              <a:t>Sentiment drivers: </a:t>
            </a:r>
            <a:r>
              <a:rPr lang="en-US" dirty="0"/>
              <a:t>Target rated net positive on the top-4 / key criteria; Peer 1 leads on advocacy on most of the themes</a:t>
            </a:r>
          </a:p>
        </p:txBody>
      </p:sp>
      <p:grpSp>
        <p:nvGrpSpPr>
          <p:cNvPr id="50" name="btfpColumnHeaderBox981258">
            <a:extLst>
              <a:ext uri="{FF2B5EF4-FFF2-40B4-BE49-F238E27FC236}">
                <a16:creationId xmlns:a16="http://schemas.microsoft.com/office/drawing/2014/main" id="{324B7622-004F-4047-B097-C0C8C7B11E10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36989" y="1273367"/>
            <a:ext cx="4880735" cy="442108"/>
            <a:chOff x="330200" y="723691"/>
            <a:chExt cx="3483504" cy="442108"/>
          </a:xfrm>
        </p:grpSpPr>
        <p:sp>
          <p:nvSpPr>
            <p:cNvPr id="51" name="btfpColumnHeaderBoxText981258">
              <a:extLst>
                <a:ext uri="{FF2B5EF4-FFF2-40B4-BE49-F238E27FC236}">
                  <a16:creationId xmlns:a16="http://schemas.microsoft.com/office/drawing/2014/main" id="{0D56E1B0-BDE1-4BBB-8FBD-C7A142A32276}"/>
                </a:ext>
              </a:extLst>
            </p:cNvPr>
            <p:cNvSpPr txBox="1"/>
            <p:nvPr/>
          </p:nvSpPr>
          <p:spPr bwMode="gray">
            <a:xfrm>
              <a:off x="330200" y="723691"/>
              <a:ext cx="3483504" cy="4378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‘Staff Professionalism / friendliness,’ ‘customer service,’ ‘timeliness,’ &amp; ‘quality of product / service’ are table stake drivers</a:t>
              </a:r>
            </a:p>
          </p:txBody>
        </p:sp>
        <p:cxnSp>
          <p:nvCxnSpPr>
            <p:cNvPr id="52" name="btfpColumnHeaderBoxLine981258">
              <a:extLst>
                <a:ext uri="{FF2B5EF4-FFF2-40B4-BE49-F238E27FC236}">
                  <a16:creationId xmlns:a16="http://schemas.microsoft.com/office/drawing/2014/main" id="{7B7F892E-A190-4F1F-8711-D84DA997A1C8}"/>
                </a:ext>
              </a:extLst>
            </p:cNvPr>
            <p:cNvCxnSpPr/>
            <p:nvPr/>
          </p:nvCxnSpPr>
          <p:spPr bwMode="gray">
            <a:xfrm>
              <a:off x="330200" y="1165799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btfpMGChart74790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ItN+BdkIU6kSkys1oz4FTbg3IAHFZDQQIUI41CPkYeCkR+S8QFB2kPylUA3JsntOnMnXuTmmpeohPhgnOvWjiDdh2M7oELFB4IhxJhTerNRjCFpuFQEejr1r5CmgUA1fqrpblifu4Ur07e9issnjaD2qHdvNUvB0ydd0A6T/k2Hg/O3P9r73iQw3MrP20XbaYOAUSYg/0Kgu3HyQh6hA1SNCrOZHoM0gc98Zjv6LOFuK9UV8oDGI/SklUZphJSSGHPOq2Bsu8/Yfebar38g0XnrPtBfcWzlEdW//84r+QYUYKcEKigUMLIpiiFKOhcr/704qKjPeknEu0HGXLw1xjVICGLUKBUqw0R1EJROvvmXXsxdDkoTWpm/4Wf/0vmi9hwjMgq7XcOAiYWW9RAlEz9hGov2hKWwTLngfU7RrJhD6rtj3Vsbf2KU6ig28LvjBqGzJB0d89grGBTl//EGjBKcRy1Kkot/mw/VZS2jtkD7A3xZOFIbTTsdx69hMfw0X7Y6ro79ek53YUl9HdVuVdtJebKmmE2LKJheZatts/ifbQ+6rCnD9umnbZOYhYKOoPakOQRfx7sgzhMs0kFcfUHunxGMcyzqXvI50j+icG5uGFaP23x57LLbsmpGNqetmP6TfGUjVoW9fu5ifuskBkp8lpDhxju7wJbs9WFY/9LGQjySvbwOCAWaSsWno+WuV0WE+FJPlG6yLY0Gj3FC8zrFgWpSOxFvyP45AlnlPBduXDhH/0Pt6nQexRGJpB9WGPt/+OR80YWAK8Cd2BP8kN/FtBcO3KR6B5CE+oCM3Se5e1ktX4lpQ0saQcjBfG8G36Q6UGsAm1T62G2U4aQtFZCNP4lVMXhbH0U4FWDdvMr0WwFCqSvi11PZbqIKnQ1L3cvb3wor6m4mFoAedQkX3NbT4UrYxswuT1JVR8gNke+jNQvpdQZdz4sltmQY38eHw5xhO8U21Pl6DsuVdWGNBBbRj960BUNZzSlNOXzmGMqrXjvmHaoCHw6wVDuk3yYXh6PcSiJ7sh8zb/yLDyM7HcPqC7L2+UVwh2jY9bviYThW/U/kOjxNpygIRjP22yv7bCNw1lIBmvAeP0TnSqBhxayDs6qZ74QAXym/rFMlI93MYaQyPvrsUhlj7IOcy6bpi+/2iWmaSSYlgrvn7XTcdmWie6ElPQ+AihQC58y63+pZZv+MOemFNbgpc+Ss+s69OLVm+C0tvpcSz+2kWEU2FmvdmP8L+mFhI721m4iIOzK1eJCkobMGSsVlndml/CahH8WFZrnrXORnuzWquXWaM7hmvNnrFw0b4R6cO8A1KHdXlyGFk98TckmVNhZlM1eJIKAPg3oC4AwbQSEd6Blp8fmhKeP5ua+hlYyvEeofeU7SQVNEK+MEjmb7npngG0KCdxrF0ekCc7+xsejcEyD4WzKtLAt3Q8oBmske8fAys6GPOIZr6seku1DbAryh66wpaxj5+7KNLXk9Gg0WvtZU7qLip+8s7+kbAGviUybcWzV+jNzjmmyuv253sSXOZsPD/zqx5bZjGwWHcT1FoLqGrDFfnfauotk7H5UeoRCv95wo2KkN9OyB4yQ+EXTFuA8JhkN1s2jB1CGhV7ZEwjdgvbqW2gkcDs33jDZz6y8/fAAfZjef60Q0bNaaPs9rffJJ1bvRo9h8LOVBJT5+o01X3W+ZMY33hRFDY8h9M8P0aOwyLVaWjWFBV6OV3tjLc+jlSmoxWQhuIb7tAC/D2Dqx+QDH84BFFtpQMM+nsx1DUYQLT0rWP4/ICyxcBNSmz2ShWKD1KmUNOUsSE/vEeFDFc7W5EJo8MjEX4To6BIC46puBsmHbySgT5WkqdrbhJzRKab5lwN5Ps8SBAoY/BW7dGCeVwdhnHdjDlpyOXT+n47zH2v6/V1GH9yhSn1sZicrDckSpNJGmVW2KnatMJ7gq+q9CLffFdjgutIroNX55JXNQdwd008nj5MKXxgLIDVTRw/1kL97K83WdUQUeB+U/bUYs/YC3ulGfJwjFGH45OP46niTAPVJGKc4E04E2m3moCurqMPw79BOKxcPkIenb6Pc3c5uT8Xiv+t/XbcasX5xLTuw2W8P7aU7Ya6g1m2yDN6XpUWW6Hn8vNvSOkP6xyjRdFuvJHHt0EflkOC/Dc1Xhh5M/MP2R/rcd+dCT+wNSEg3OdCaWj3LpBb7+htk2DyP2ds42qWQPC20izPwBnxPyHOvIoROSsS/Eo6Kbnoq4WwKCez9CbI+X0+m8moFd7/fjzPrWtHZmhEjWryLfpt5DuAUlV1nQTeo+PIWHhOHkSfP6k4CLr8RXGJm1UslSzfyp+VKO9heu02rnOYe0UrXHQGQWKanTOxXmcDP0WI7o11STYzTm4QUV4V6FPhII95/GRj8VuSqE24sKhOcY0bWTzVWFMl4f/Kl/uwHNHorSyseamBgKUxjHpMSk8iuBWr0VE1Tei19RVANLbZAAgXXU9rYa++gZ+9WeCsQn+U8Mw3jx9mnSkE/OHZB3kuRolj79oWU4FS78YBlnnuc1ZMfLcxbBlTl2beeZKbL0VrK77rw7RbEA+sDeDPaTZdAhxraeQEik1pGNyBvGZb/J/qY15VqI+7Y6a74FhUhej8jnmI7uXTu9zRHAiOiGW7f1m8zlDLSSsIK5ECBTCBmtxsEqmuNk8kaVC/ghHjRjkc4J4Tpj9eGbDGF1L5mWAtjHXAZb+Tekb6hydfqEXKdg5tFSjr1liE9TSosw92XjqCR4ODjcLKay3g71wT09eKAkXI74D15tGSR1D4dsYJoUFMQpeqrfFCL+5aQAW4VWUzGR+YPqL3QAmHDavUDCYY3BJPFq8ATKetkCk0mITJMTXffl+fqQMX2Uy7WtozY1KuBXZSNeYzZVgV0MibRTL+7o00QYcKoZjgfrE2v4zFYq3zoUaZiz111osw/xwIb4hczHi6Odv7EAhiNu7VsAhs26s6xq3wSB7sMqRFhM6h7IkRAe9yFm1t98XmSwk/n4swnJzxEjYtP1QRBPuOCI3dmSwTpJgOn8SdOBua1VvmfIZNiIsopKLWHE+zRLZJxWYYAB0Ynz1UNhfOW/cWI70dKdbMjE+HM/CxbCCM/CHuUTkR2Vz5arAY2ap9B/QMKk7dhf9HVQ42CTRAYTEBLmopTSCU1g+QNhvPYpVQl1BEEX2Vl7ZFvalKFvstkhSfEBlfCFdF7UJ+/4KACMOxZQKKKvchS1WUySR5mdno114NJ+G2AYLXKzTqxM52346pVewQxwfuucV9Lpz+zwpaOkjTd5/xOrrcN9/ZB/9+NUgiI2P+ILk62DiZdYkfVO9kf42jEuc5oSRWwOOpUpWWPEtsTnF22+mcG7PgOnaLQ7dPLXvYEb8mQ1t+AEejEBmS4grZCsEIF/IGpImWSYk8B6IbeNIi2c8KTgB0wBKn/Ca5fnyOOfwa2W4/beRMe0Z7HMFKFguMkGWZTh4BRhjUygUCuygXHHqJ+A1ozgB7FZ+VNP2aQmUtrFVvUkuybhJHbV7VTzv2RPliT9kZKJ8rg9qs08Ch+cGPy+WCvYOfIQJRkHh0Ig+8qpSpeQzbKqrau5nlCkPJ47i5FK9xxozIve0EaQz3G680AcJRwGvX1zZVz2YowD4oy5CKela2WYF4egp6+EWBHTBQCOh2AOQtpbIatFk4B+n6vGZ6k4kmRyVH66ESDW5ROG/ff28Px5YnzGYjGnUqpAHn2Ofmni8P8A9avRxyEI1OeMKKe7nnged1DItJKiCzG6JBvdQSX958IGu0CcCJMaVoB168uhLdA4XAWwOxq0Ux2qEoFdYk3v8VvW/IWfASpinWJQuaZwhOEx5biAnKWHqzNCSryYn3ppLrBXA5EB78s87Q0BNLYwSbcVrfNDdUaobqFssLDljbY7cx+tbwXWfLROHJ4hDGsSIkLONekbxUVZzEEiWIJSAPNgGHzgmHRCsEVVGiVPl+H1uLgIX66HLS3hnlTGCNl9pL2tG2thiENfoxiTCOrjTuMdq9F5oDo/jDTAALUwZajQwz1XuBQxvmzeuEYCwNeQ+P2cKwH/sNvXNPLX+5FjTLG8j3bveWeR5rAhegATf2U7ytapy1EzbzuK38NifT64MDMV7ZrE+LY7m+DDBQ9x3mmXGvAbtWyUZKOToP6SEniaJqUS+JcV3/9e7TFkWxygcNZZrNKqDd0ldy10OPLvbel3q3RGmIt5iTJLc1DQTZm6BgqSjOCnm8tBAdd/iJpvw7c63UqB1RMMusJKEivORKWuS9WH7/0RyJ1IkwdcuUGYGL9h/+dDbsY96kqaehB/r8AxZFcC5MWvdWS3xZTfmJLMCHMeHdH7IU8Trm4Wm0fp51LwwSyRIU8Ahpo6Q1N1V4S0Qw04CcTpqIvS2w8KNxDxPsocic+Hhb3KjUGZogP2nz5x+MCiOyLSre2uVcfkFX8bTLZAgANsQbacGMFdTw4qFWWhklsEauMSmRRgj7nPSxWl2Y9+sjFHJd/jR5clSGH/3tHtOVNPJ1Is1WOAs8bGl/Ek8ebbPFXXBWnjKhQYEQzgC51I7zk+gipaSLSn5d9/vDuNQvav9Rzq8C73tbZkIH90f7lE5WGeHiJNLxyrx0v/vPHGNGgrBXH7v6CMiRyIHJvQsDUKKumj2iDENSwP16QcDLXnjhkINAaGXzrd/9bTgt89b6nu++6jHnE3eBhsUnu2FbtaGYNnjWZUAzTW1PCuuefJkgB0Jrr2GnXsu0P6LipadcWtXoDWZXQg99ynk2nH1TeEzTcz0zgQNaONMxZgY5ysCFBJx4HFOMR66AbsI57KZrTAYAy2fDXs08csBKVED0i/m/r6CyA6Y4KoQOo+TvI1cw2DjQJtQEmxGhU79yalsqaAa3UCBTug56YKmBHLP6cIfPSsasIc8HEy1kTuRjCRUuam0V9SWCin1A7295wrNeKUc2u3FhhA2ctt4VEYLmaBDGBYccntpAmu3z27pYYZG0Vz1+vYUfQ8T2KVaG1jE2+WoobFvjjmBZg6eZvqn8onm1Yfk7cd6lqRpYSbR6pX/ukSDw5vk8adzd7a1igwafN6PRBdLqjefdAwD24+IhdRjgBkSpqItyftIAO4tPgiPadWcNgXTeiVOO7XrHHfPXzwFJinWtQ4e3fodi+dsBnUsQnkBB4Uq4R3rZvi5zo6xcf3539ODpH9u5jOZsleYHgZlk8fPMWRwjHtEKZ76lpjBSXt2TMczAB06wP0LACtdnzpnMOzRk1Te07+IhNnA5l50gmw+OUULprX6dMR0LuFD8Lub+0nBQLMlguc6HoyX8xCremLNvOvvDBNGm0GmtpKyc6k9JJqzRp9Hjm0N5Kq4fdLUL6rDPpXe5KWwyWzErIOyvT0PJtx1nKgp6n4j1rOwzMxItpFviOyr5TZFdeMmVBb+6O7FmxT+um/mMxtO6rbJbTnTNrwM+aOd9CzOUW/3+CsbKwe8HJP0qClKmvuXAdOyMQH1217wHKX14sl7yC1bFq4EJTD14vf2f7uEpIca8VhJAgSFOhWeA+i8vGElDB5Y37oobmX0D1/LbWd8vXjiay0pm6V0OaoK8eRb9SoXeYIcxHEOAX91hGgOwVAMrNytFSX470eSsaSvQzhPhp3N4nLAvtqn4gYMy5ZzKiOz6N+AhDItlgIuoT6yU3jiv2q7kWhp53EjpqY8z5qtAXS/U+uC0xRLqoX0W2YlLrsUln2KodwB8/r275XnOKdoM1lI8aBl5i+s8nsb63lKJEExGMbTzcPcLwnaFBoplNryPQ2rqqMuuYB4cwiMNXhyFNbLmTcN5OW9XFUjC14pSHMiUMINj+pYKwTsntydzCtXun+LU3pn1F7QxXUcG/Dqed/Ae8VZjOKLHykfzQEANkhXnHNVCQyjYkvYIUIp8j9dN0B5WAK8eG1K+xW7TDk5C2/5PuvSuC0rWc2eQtSWO/K4I+HE0ox3e/2MOLvgS+aAd0KOOemsnXKhxkJj1j4IINS6aqXpJNCEhf+NiAWX2qGV8/5sO3qzSnuUQ0NVOt5djwWtn74vm4NilonFhOqUtloVDBBGG128Ivzq2FGX+hi/9fdrVYtq2/ueP8El8EEIP70J47XjDVrjh0VE9h5NxY/2d/pshaYxWdynZ1hkZT3U8drHqP9LhAKn0qwjnsLiJmtwhZPoaHIQhN5UJPmRDbi7Me9SOQAlKtVPs1AvQ1ft0cXW48CaCb6HEjSa1S/loqLCLnM5Aa4+uYxGsYuDYwElsfLqK0uUHlX2P9BiyWJbfPgxtA6+IrFlFLbuDtFoy9amgP4D63WlfcGwCH8kl41483Elf+TfOorQyGNsxBX0QaIfrHS8B0wgGGQYVVKXi6udg/x/eUL8DHPt+6GYqF3S5OpD7k4wzEL4obzTRmnmF7WCd/jb1MOO77e6/FfTNOAOpW5PiYhu7EXvtXa2xY3JP+9gZlBtmhWPX/rtG58rmBbzyqUrhvhZmvZTifG0/Gxtlr6VB3/k03b1VUfrbE3oMlqPMg7Fqx1ZoiNjmq/oC/Cf5Y4BkOhuY2TABmXvmmQyPO0fUSUn4XzWdC8QMgEZDIBXcA6Nl6S4VwR1Oc/7/8tTjXkAlAHgRc/hvH1hrhVH0QB5zeclaCcb4ioflAxfntugYmi4ZYQLNoM4OJtpg8UQaiPhSOIR/UORnKqrZqRvi6ShufNCTWqkNKDFqCnpLhMhAVVcmJJ2ny+QPkKHvya8ntuL0umKzVi26mi406vrLd9ZIZXqolwoYyuyW7/ej88IguYLccO2+A067OLs7nBs17eqc412RZELIOOaDDGRfPQ70aDh+FX81zYcjIur/v2/KB010W0NTpn525LwbKi2InNFks/9SWdiVd3dkciYJaisrFdNH5THowoGCyze5UzB0KQW9N5qPpsEmYWlZ5DKrEhGn5ZbLZYHEQn7hI/HhvX3N/vVFZpw6ZB8rkTuptEgrxv08e0ZSUoN6qeIBpvFeAs/Irnxm/jtYpmy+DnxvuL9UBEgXayCYQE4NnX8TbKFN/8l++9u0/YAXWs3BP96AAR6UTTyhP4W7IIYzI2q6mXUDOfQiLiyIhIntjXUyHN+OyTlQQwkfIEH7he8syg5ueiUKiud+Gg5DgWKvJ3j7RuHSMLqf0Rta9xC1qcqXvPFUb/NhqVZZXD9np9Vi5QfQEFpdYcu9LunfygD6BQ1qNPtGoMet1yVw/+MpAroL76GxbOYCToGp/rKvxLioyeUcI2pWD7H5NkgiZgenTDVFna3IHtulPghrztq2jv87Y26kRHAsTlMxrPwkmlnZfE/gGbc5kBn7Qc+b2qwEuW6E4YO7eRUnfSMVAcaJwbX64eMVDbZy1SkYXr5YegPL8Rv1GDCRI14R34RQvyAW5t/n5zHU6Wy2LKhtj/xTRZkbWHzf9sKuu/qidnuQt0VVP4f9aPGGK/2bg2ozcAsdH64YP2gZP0ixhh4cHFyxT3Ls0jfWdx+YrTywXzE13PgjkEUC7hgUoxxPB3Fhm3xuLq8vDqpbWWzz+86UyBi19Swrt95nDrpY0IGsyk5bpi08W88xFwdHfe3+KrGFwzxyEHTebdkpM8tMsXoTvvwge6+VyOZ2fxaKVgkp/MMw/+rggeaaaJjUDZUVv6EYVwTAJyRZ5UA4/IHBfP8dKRsErfieTVQ9x0j6HHc4QwNXv1mRr991wAdwuD3G/TRvHBafddMSemva2Qwg3SlDJTI0qIHWyW8sWPlSRIFkrvbf+ufiClObaP3AQvEY3G5Arwfqdjjl7OpnrGc80EsnXZ+JOT7br2mr9qq8rr72eFVegXkwudMW5CVJJ33/ODeL6aY2JHEgo1O7r83riu5foY2GkD5oothS+4mYcBwUw7IUOKJR9yZph/45pokGL2NGDTCvosmAPlT65stXyWvIAiJMCgRMKywFhc8R1YGBRsq+bfjQTIXDQkJkLuZ2VQroc6ZaEOe13O7jenhi2duv14x/fagQzGxo1AjHxSTM4c+BMtUgqWDyIJ7r+phgcvnmyqLiHs/jCpNGFRIKey6o/5P0n1jquOl02w1WQu7tJV3atjNAisYWqbl8DRp1hAZji8u68sgXUP/11nCzR+wqcxXzN86EivyxtDr5dZpMqk1ycUYfjWM2hVJqIwapXr2oiluuFRRaMcTJjbdxPMHLier06jSpBpcybTYdBtNWK70EpyiFf/db19OAzVc2+loWXEHXXoAvzsxzXUApW+NTvOY/YdkS06F8vDJyF1CmbPe4t9xqa110Op8vXMgOj8Jyu8c9Y/Wf3vflESa6XuEKxXgqOpPruFxuU4w2n4RSxNxDGCWT5+6KmE2+MiFcdl0oSIHIXBcfSL9/SQPAGd5J5sqm8HdgerDiFr4/2/t06SGf69I4Offiv9FK+ee3U+cTkPZPyWLl5ASrRfhlHjoOrfn0OVbGof4WHoUSXHFHbmQMrIa2u4HWZMR4GeXDkL7kfRCpbrWeJACVBYOQSQN7sLWQ8A2V0qRV6YAv5A6G2WzsEJImgXA7Fv9T17QzYMzyurhepasGfe+zrVDCZAj8Ht4x7OS3O8v+NkqtUamYy17o5QvEfY7TCZk3FOrJVyyj+D71kr6ro69gkxDLApkPedYBYMQznc7GC8gXIpVdCubYuuXZHmvUn0wMTYDmXM4YJXHJBDIwGCOVOpNMDP/HJtPJFjRmhOR+P7pEnmrp7s/Yh9tYgtQU3C7/ixTlc/oPfZgLIXMqcpwimG0aSlSLeM9own64Q1BeKMIw56lzRWjXWU1XLQMP2UgvzyCD/BztdFfIndfbzY8zU3X0BqGW7vwgZMGcHLp0tRB2ScJgSKWPEQsi29GCzL+fuzT6xVKaqDEcJ2qv6YzOzARBLEnU53M3/LkDpokdgERwS80jx8wIDZLwKq9QN9hnf4v9u4bQcukoawXeUzPn6/2YFMP1tIiWWac0yIVFABCbTL+bJGRweg0Vm5s3HG6d7MAhFNHw4HxBE6kCAQ0MJZCPAiyN3d7ChJPBQpDDaSFI74CaXEEacmA09tDm5+/NS+ByXkraoTyWmRgV70HxJxzn8oLORy1lb2MjHg0Y3TnY2xfC6uTYPIsBTMx87hW9fcMl2b1UeZStRM6CcJYcQ4vT/wQLJz3d72DJwEeJtny/eJkxgrz5b+DqT6UtEEXPFM9zKSRZKuj9mpKU8qXl1ihqxjNAUwGTs8Nvf0KImi5vZwqav2ypZLxjoWTj984GAEnEgeYlbgPzTID5PxmreCEYo8CicLSxBjXX6TyCsjtes/yLJASESjkgRRsjKRR7hciXBMpBa/kiP0asuEi8nGeBaAx2qMkeJoU304DaOVtkLkDlWuMjSVfcOiT2cil8w+krre+0LQYmhXswdIbgVcFWpp/nKwjCOfTcvltWx7b6+9W1npmbl8oZPpzOLd7m3DZwGxRtOzCdX5ZWZ/yRYYuDmWBGhWmQS2iQ6Y+6VWUO4Otl0JFaxX5Yk6Hgl/HtsxC5z0lNaYYgjMj2G+vhNTH1p7l9PJVYinLhyHqnbqfvWh/UEIQZZBRnpm0r0ajEp2/ynK7fPrpv5xogRqtw0Q8ZB32RfPzKqQwo4zDKLXvFw2Fdj50ct2Q/kyx5EXrTsiDWxhJaXAZrQ5jQ54RjG5uQscbmfLtPhBFg6Ivu2XwOUMlYm7A5lxGYxIqHktbDnEg1IKycYUXAktcMcaVig7hec1MQeUeRaD9Q/U6H2KJ713EFZoYqr0uzwXMUe0pcm+VJSBXK1mUTby6Ok6vr7sRtW5AAsTT+v+2G3Ilpg87HEwFUsFb0Dt0NSwIvUvE25nmQAGHuypcDFXWI1bnNJExuonL61EmYhdVIh/qpAh5ISh02QiOu9Z6GIOJBQkucHdkggEBAQeP6reAHmVWC39fvEICI76cHsaN7cu5Aoy+HcIQ2aju4N+AyyIUugUT1GUl6Ol5ofb+dlt9990Q+HiFQNRgRCPnmmigZO+uJzTahNY9zxJyJzfxD9byN87QuMYsTWQbh0HliQYGD8wvECJTfUlyEQ/V3Dw1ZHb1lKwyc+OsXlLqC7HgeAr+EqLb4gPAxEHE/YtXx4hV4JsNZa80VmwMe1KQaautMldDiGd+qRpIJLW+z0OWIyd/ViSsFttrRQ1OHxAT8oGWWl7niNPZB1e2o75OcF1mo1+rOiLBaUCYnKJDvyN1Y1PYqL7AqHoaOsSCBmMFRtfYUoKpVVV8H1PVoGUYI/daHRcSLSoo8puAoe3LjDcQErJnqmh7R2IiXqNc+nlN4yz2bshOShMD+Seq5gsyzuXbyJhtqGw9DS2N7MgoywQvPwyjA6ycXpXfg8aYom8fx8mkFvwAf8SOMUgX93RpAhr1M1NWzNj79uBZeo+k9a/upT5lSd6mICeS5DxzsWg73p7YSR15YMIOSbs9CnVNiKEQAIjA1xzOS4muErB6b2MdEMr1FvRAsqWO88p3zK5H8rErMMAHFym3Uc1PIIqPV61fQfYD2Zj3S2tTMv3GuaUUORuBv0Zln2Udy9hCJB8cyUa4h+eUCDBvMP/Lfadqke/DmlL0a/kMCwJdinib5UG+q/ZspBf1z098nKjqZFY3VLd6OUKdXsKir0ea0/QaFG2vSgl4WP3fs8Vat4zlFCcIeH2SxE3GbCPR5/jb4pvkT8IueMGF/N5CALdPv0VTyflZYvIdhm/nI7FFNcvdcDAkb5JzRMAyIK9dSxTx88gHIcGKoor1oiKMNgYELcNgpv3kJVAlc3nKuVogHCzrLSC2qfB1KHWQQA8tp8D7VgQhwsQGNyEmj0cUAirmKfF76OluuZm6U2vXTx+JRsUA7JBpj6aJyZS1IOLKdNYKV+Nvc7VYl6QkqxtmMiJdAwubszNpeyq0KmD0zcp3eMenV3UdGn9eOKvjdT64FJM3K+PdsywREYj2eqv7XHZzUndot8PU26FvmbfOB7TDacGfmBHShgR/ofJfs9AuXtOC0QOObgEu7e2U9oAB5npjrwv71n9zA4VXa7j04bXKMu25yBHAp1H7ZW21erjv6PXTCwALXXT02uuDjD/NvM9USutewY4eNgjzS9axI26rlMXE4bsLNYADlmPfpAbq+Ghj45GwTH/Mlxe4fuF2szNN2FKUAgJkgifiNa7wkF4szV/PktI3rKV2eRe2Ls41t5cOHZk0RIXSX7lTanX6TtNO3uCNsPbA9q/0uu1FdzNtQrjojfSS3xsEWMumnrNUJeZsfLmWW0X87zx/iFqVI6X/igP4Qnm50147kx9JAEI96RhJDSTVcpihZvIU6uWJb77qKEAaKIZvxlozUuYrxgrJY7C0fkBzcpnj5fnkC5JvgfYQL3YnadRveJa3n5JcdSsMst0PvAmScgLnPDCVOSlZwgqDLYzLKaCMKZ5AJED7E1wY9EHmR8jsm/GYz9ZyzPA+123oPZlKbRu1dLBF4zskFGArY6tOJ3viw7lXUlL/4H3DB8yqC9vhGxaxITS72FtdDAwznrcwLV0QItegaLnKPSQHoTzZtSz5u8C1rUeb5j8JU5OunvZNJ0qvJLLMsQVRFEg3R/PW9Td6+foaR01VEXysF5RphZecNx3GFx6ePRF78dFsA0yV4afHAodxvV7bgz/NBI/YKvse5auaGACnXtkqrira+WvWhwLmh17GJYRcmdiBLbRTDyivrGm46iWWSmiwSqn20XjvY4qxDik7MxX0ZDj7LioWY61RSYjNgnuhNkVl8+Ix5dftdFgkJJgrxCogkv+ijGaJgH2RUlnNFnq7XmAYfrcGptMRE7weeNVPf9SIkrrDLE8xjCd2Fwkz17ocvpbo14g+VLz1t+EFbKek/5yCKyjunKYOfTmGzckCbldCzwgwFSGfunuYQpwwZSFG45f8AIxfpiqQgsFO9gOUAuM9qTTd6pC0mhWu2Y6nqIGKccKyQWUxJ4u9CGZAR1/y98Q5ABqAq1RNhRdgxWc2ayj0oLUkDyr9rRBOuIhu32QinBdGyBQ18UwfAI0q6RLqODhHenSQE6nWS1LEVVNUC6w1MHZBuIAHYEuAI54A1p5m7jsthZfSqmnSb8d6EQ/l7iPVo7NRehQJ3Wn/4yf6DAVnPqe0Byx0rfUfy/ocsLIsla9xaWbEpAMVY3s4IqPj4NUi41g/tExO9/PSYQiBJ3F0Z5ydZIF/buXfnom4o04EDCkoe/BKWGktWNDwiC0o5gjim8mnIpbAFfHiWoL53Mc42IQJv83/XkmSxQNYelreFkjMaLBP+03qHKyIujQwXcgqg8NdhRhe+pIcjG97EOzPa+DPvQDqhaFfEq8mNM5HhSMhNNIS9vol+cOsIWOVbkOoNWOj0/n0k8g0XHVSZcpkBL48AIOJRYtkqtBldgUIRS7kr2qqgr1TbDtooQ8p4tza+4MY3ibCxBT1pyYTjgT7RL1YBP91QUmybV8mvrwCtAGxqmi6RREQKvxZJJqvtv2G3LPe7ZPw+VCWoRuhr6U5VL8tLtPfh5m4QeoTWmoORO8+UsIJcU5lhQZoQ21+M7YnAj1j9T1Lt/pWVaB8OZ+JKIELrd4aJ5WsovhUF9BXqIoQTR9m7iaLFusSisnZ+HlQRjZbiSwZFSEa4ej8pNeuVeDMTgOnxl/YaXsvVlsgy2chMDJiaTbmaYuRgPxOUSrU1jwEYPFEF/V7GFieE+5EoUfku0qOIXgSOu7Q+OPIC2+f6PkG0yVSvxyeUhYNaU7lfHSRmE28gtKCuEURbAFmbNpJBWuiemO3U+vrWua819HN3/xJCEIH4Gas9RL5XSr+v+JPhcbDBOXnx3wT+/AMrF6CEvbi+ElTIpNgUzCrn/LsGu7k7zctAHVvNNQzCoYPvepeM+KskUEOJDejrtqGhPNzhyQDYqav58k9YpW/ALIp613h6AsGdK0sQ/0eNTIFybgiyLFHLknrTuw6tdLoRQp3EaeWhFA3VXd4MrC9tnPc9g7zTQoi9MwPR4lpfoK8kW9NK5jIzmdZzPT6iw/NLYeN3mE/r3eyQREuPF2vK4VnTFKa6v3CRe7GcrooroqgWrmI/A6xTQIRBvKq6/VnKzw9CxFT7mrsPtel+K/L6xFK68Z1i+XZ9DLKgB+7NgntDzJMFO07qQ099mczt8A+yyySWuAe6XsFv+RueMETKRmigssqVEJVZDDDKRx4llNoUm9w/gKMslS25oSdVzqDbq0O2UTeXJfxTlDaGY9rjgUskifexHCo8f/F0LuwvmU4B0Sz9rrjU/jZHv42kw2UYgKFuKHyyx0iITh3hrt/nDlLVh4MgV4Ubt8eAOLCv9u4J7tnoUmj6HwRfBnLTpalIot3ru4iaMG1GA1x9qWhM2JiVplAry3RrIjcqrIw9BXEv8CdmmUHRqM4VbX1Jl3S/rBiVW+E1Nm9Y5A10Pb3vGyHWkXkxJi6qSUD/UUq0Iwmzf+W3JgcL2+Gq2OkPf9G6PYSLwcIFqRdHw3Pv3q6pnuaDGmELRCawLRb01eF0oNHqhpqqXAEdX3Ognt9H/eCK+lqBf2vPq1ptJE5G7VXUfTn/qVlXrThuiDjwnzTe3vKe9HFjEboUMnlIdUi062HzgeDrytOuen5wYbkxPHICzWtrOinLgO8CqGz8IZmAzDxwxc0/1XBcZ/iSiQVw1MOsSlXI5Bd15JVAQVHfeQy66iCc5z/vxYXF+Ihjvkn1mPHSFfBohaNRmiTs8cIVQ7u49M3Tc8fCAUDKNc+xJUU2S3yRnph4YBUcwoZdLCm26bvWjRbu4JsNz64le0Dc/D0f2hCSNCx62fG9x/tUcIHIclQyUHNtjeNFH3oqUZrM05Fkz+ANTBE2UCLmwRL+ZWps/zEe7LMpGoPYt0HQPc7T9Nl78qPM7nad/0T3a2fePSASLhpNANUVGH30V1SVXofrO8IFayrR8/IcTsECd4B83TcjV2BcJydMWQe156+GORXCuKPHMoArav3/2Ko6+zgUiWD18y+NJPaDu2MeTe5lCNT9JZiZjSVWazwE3A7DKVgqP7jyXQqijXEwhwjWJn0oOHUk0QzFvsYpvNb8sjJx3+bhUfJZao7hT3mwpqZ9o2BuHPOpRPcqWkzZtpIMh5yXewZJz05OeiPpyNTP6CAcZTCarzTs0eDvnUAD8xOnGCqTgFamBOugD51C71VxYf2DfhC6yjpB3PUq4exXpxoJxif75hJxlbFD55Uf6XYBq24ehYUKEu2+grHfjuA3byurm3ogDY3pvL4P49AoIguTJL80nX5m/hps+aPYhPQASlkG2LTakTyu7DP6unrj+oB8RvH6/kt7qoJjGnbYodIs5QiHcn22pULhmEQxicYmMMeCOe9JJm7BzqhcCC3C+w7dUgjvdF9MAp8obQvlHVDFzs5Jj2iQDC+fdAQFEfkjPi5zHmyhBIB+ENeEI/yU/6iodRqsxBBm0Vwj1swqjPHZUmF2lPmRTkCz2sxVgnv830sRwzNHr1Z672NQC8O9OJIW1O7bcBMfogoncESJ6m2M16Q32kjqAf7PNg8hKxe6KsUit14Hly/zpdZIKuVxEIngbgJQA0Z6gh5cJm9VdMrEn9xzvYsiSdSSZgrwFSz6Vvya7Y0qDYNtX5hIx7gH2jYxA8qddt8laaRhIhf/nFARA+84cEefI9hcTOnhGPgMd8FRbjVZIM8IbrBEwRLRXadkEkWYampm5+QtQKatErswaP569u3x0T82oG3eB3EaGxc6CAkEbzQbZZ4yRNdhXvA9SDh1ggAnsbb+sT89q8sdA7us3dodeigzzrw7+MIVOdZT9CLAZvw64AIh74fqRP5SE72n/oAGm7kCM3Bfj4WSvXsiOwGItQirFvmZRzm59jqnYRvHGlcrnQMOa3I9YZO0RIQ0VRxIiDu+qPvQjCM1Jl3X5fhX0TPzSZe5bHbv9/R3kTgF1tgRPs4sLeZDBOtBNjHkss+0Upn/L+sCNtp/c3hUysfT/j7XW1lc0YYUifgj4pnYNoUdSBEIushTfeRul/vxnC5eGcFJM2a1AmrUPyQWrn8LsvV2WfGvdNGS52GeLzKXTNuTD9A1ZwVbeaqeaG1BrXzHClVgfOBgl75g/m1lU/GtgBQkxxv/tyC/PhZS1OEmUdDb+0lP4YDCzAQp+M1JJ25a5DKJcrPHXK94XmZLcULoNnPvalKB8FqrSNPEcZ+SkiA6sRWQSAIiTerMGdLs6dX6kVPShdAwngvXN+m2+zkB8QFq9sKirkHQ7ad7O0LMMPgfvI5nz0bYb46N7nYUxcr8BsZKm1uKBAeF9OPpi44Bg0fMalYJe8kHvFMO5nA3W7qUHfSvIMpdA1Fw82qHNIzWl6AijECjFt7FU4OxCVyc0LL0Enxxt6vS2w638CECwcWgSzSaXkA22lTyrbfjsPSGqLM5TmxBs5v9bjx4tmn52BP+Xw5v7LbZDe+NqQ5uPppag6tBCB9rP/S0JbMCvy9TOVrLKD7WX6k5ivl3vyAxdplFIa6+xCbyRXOZHHtwwntxuN/kBI7Bd6fazaCvw1GtuMOeg1k0XSn4NY5e4hwGtup/lZZiOOxZhtoiyzGplrSYPbQ9cVmUdj0z0gfTpOU10VrGtkYDG8q16/XyPMyvkC1EB1k62eg4BBuu9yF+cI7cZXniLCh3Cr7asliQmMbvTXT2yheEcMP4KnAPwHjrwdkkVtybbsdt5po1Ihw32Ms0s02xEo2N6biucnSUqU9Qe3e8P725yILge5zutar9V+k4rQ3taN3Vh48Ok+BKHE9/tenv/fu6Nbyg3j4AF5q4M3ToZeLNiAQ8D5rYGwxVnMOR3pJbeFLR1rlFG24omsraj+bts1lVk1hHnXzxdIdcorZlLnwn/jBHFRHEQFtvNsJb/jnvD9jiHSJa8/UXz8VqbKC7muw/adD1K8lZASvffUUDTSqhHc6d5ZAL7ftjMU1Weka+UO2but02lmmQhBLyJ6YZkG30S+i5lTWd6PpO8BwU8kYv54mzXNlU5nQg/VK49WLdfqNYJVvx8X0BrAOQ8POyE6LvXBwSLQJr6VyA6TTUccLsBPyFuEWbmNNDoPu31yY4LTR3reqWEBfQeGBnsSTNNUi/+0vrIN91/as6mlnfnSrEoNQEXrJ+yMcLBf4FUzi3ubZvcs+7ASdiGpNuPjin5zv94ljOpXUVo1EDbhZxwPtdvGe3uB2KAVCzPgHu2ZbuSygNJ5a31jrA8WFpq/cfQhQvgRs99zuujbM386v9Vtaj9L9/MSLOz+PHcQCxGLOsljdQ/ycqCub8O3PZI/MGY5tjy8hrJ/3DNluTbUXqYJddKq3BBDmdlZ8ZE99XuWEKtqSQ0uuznGw8NmgBsz60y/TW/5kwq5TPE7dIpgpUFSE4Ku40TNnPYjgIN5qi9xbP/TRQRf1UVExpfepwnOYs35jmj+SxZTf/6IPZ9ER6GBwrn9+ExyUq9fNJhAGJngbVjuh2Y6tMtOMfHtI8HgD8e+U1e35Fvsbbvg2zv744xjrxfdXTpHcsADhu+OcvVpt+Nebj2kz1lRJgYTpp+T3p1WhbkEyR0yKD3X07/cGkHYJHmWwzvOBBxSxaqB8AUeElLVQAe1Xf1AO/kvaY+qeZ1zAwj2EYMVOBDSZsPT1A/2ZdeUcmV8FDjXCH/7YLWmxXVX4DrxLK563aV1Yoc6TfKnW3kl4AuTDlz8U4GNLivXxOxrkp2lL2dOjpIPmweOh+Jz/PX30t2YK5/qmwwawfp7kNedIByFIR90E2xM1x/KtoJulKEHUk5KVj+ZKEOAPY+jCM5eNH92wQJqT2ouCnSNV8qnpd4a4LMVc94bOAsNX8miZ3/OyNTiZvO0llheHK2dc5PcqrOreI3PMfHrNf88b8vkthGXwKjt+SdBVx5b8jG4DtjnY9xUuWZUfWfMwMkYHaFeKqlErZIn5EdgQOVSy0gSHdrKDhb8soQfPbyIiwgu64hP2YW6CrTHj+nL9t97HImQiWjlHirjP/4raT+U5SVMs1clnR/LdP322JKHBNG37NiB6EE+MEWfacradHxKWy890YzN+jX7yiUsJ6DQjeSv3jUHIPIr8fR6+nWZENzyEBsuq/Yall14br25ZiYemVProQNZvT7LS4Ev/DD/46FU63ibalIG27mL97wDSb3Tr9v3NKG7+rYnW196ZLtgv8ZKDV+E5nn+V8wHg0yOGveHy1fy5VCBs5ibuqeF3pDqNE5dj6eaJMC/6igbMGgor7iyOxqdbhLHMViUXXANwjs303c9bkeEy8f41jpioQRO8Yh3AoNvvEGhDeR/e8NQvd4s6SvKyA/heYqe+1901t1tXBTwlrXVuLJNyNqKehoP2BC/kxfCKkUMELF/Quuvm9aUBH37uHj1CpQdlfX9joNLvni6ikaO24ALTg5Cfor8NdJyaoskJZAT8qCbZAAIbL9rHAZPRnDcPCbpFOMKnw7D9TD3FkOmi7Xx7cXpYWvNzdHu53Fp+fk7m0liCKd223JUnYyeZhE3DQ0UJu9qhVoGjcj64EVa9hXsfCuvGRpVyyXr4tLKdJvodL0Q6LuPhVwkBzOJ6haLPlTZYJp7azq8vzhVDvb3FZK3emuYmgMyXzORxBvais5Es/FXYPtOJ6mTb2VUnKd7mJQD94P/fXlKj8Pl1tJfPZVmfzPXXOMHrkhfdjJYxKN8NMRak5OjW0w4uJ9FpKv4rKPXahkT9I48dxnOGEnW2MxCTlZuWww0EygI/bEiNwU3PXWzIke8qVs0BdQmXnr1H4xB4ZWrT6IjFE18o73Hb4DokwTr7/E5zFvFmRfMVURof0lsXgKOQOwTd/ewmbfQYwgMq4FRD7k21Exe8wfq736Hhz2KWy+DvWylAU3JMPmVVy6UaCaPmJEkUlBZSHJquKdCERyfnlXkCEc9IcgfcWVwWJeTODOy20Th9B4Z5BQEsX+XpSik9H4byNkKabXwxIS7ka85ALVf9oyD2Dk4fm0eYcfJVMoPWlwysrXlUQlSumIBxy/PlWqvy4cXinLBrGbE6WyUM0ynPWKoTtneVp2ykvBwNAAxP9CRk+Z5K23Btz1tr3Ofb1wmKjknPm6VZITW7MtIs3cudh0hKjD5QiTjuCZd3d2eKZyzoYNSH9c9ulxO0MnZTUX8yXqqFvj5FnVE2zKgiupScC6kXilCGT8Mpq5D+xvoqaTIXSrcLMCj4qxmWGfPcqjOT3mRhW6zhflLFjNkYw1N4erBr9XrjZPSmFXm++2Z4c6uRWb9DI3v052YojBX37zvtw1KxZ5PpEdIGCIiIDvAugbdletsnnDxNDlWLi9J0/iSDhZNHpW0zRBHZBm2+H9mGkHnOKGbyb4CToFm4cYiGnKjNDkGaCsaNU8hPgzpXeafMxuXbM06xeKzlsV7zjbx0NmNoqkZ2ZF9lfNBoFkgR1ntPPv0WT71eJ2365KEUWRmESmaEL29pfRYgInp/wq77bBDFB9DqzQXkUKtYdZn2YYUY+h6JpOq4ylqlfriizfiam7g1FZiwRnob+w4dy0NDLUA2qLW8kLWUanuoj9f47630lmrjA+RUx9Je/lf3Q2YcxwGphsI5KKjnEtwaizj/XQpBd/d020c84rdrXKkt2geKvxzNMSdUZ1cON3FoPY29yA21QE4DgOXygLScGM52ksd3rHxBY6Ut3EjsxkCallAAiWmUQ2mANSY7jtMTew/UwTTaEMCDZFGXaY/zFKXV/dfDMT5jqJysZ6xl3tpVBM0OM/ICTfTWg33dRUVYZPGsPA9OF38GN5JGyRfwzi110AQtH97pDdeMuy9gN/xgNIZdb29/4tS6JKi5JCDO4CN5WrXZRRyxnCo6+LcxUuelKHPu+CPF4qeKHkhI507dvb/3dcg+O5s/IVKjSp5Inj/Hnur1c+Blpt4o6CZ6GJrwvK0ErsPNDzaiHySWuxC9Q4tRTyn2HcU/EoI6FOqaW6Uzc22pfvc/xJmJjAknJpW2158uccAy61kRHSXOFDoIN3QZAB49U1NwxvvAqoaHFKKcjtUWC+yTju42vz8P/oVWdrWt/WYyzarLdc23Y2qJoILyjrFizC5ri1aA9LFAHfUPrLr31g7R+16gVKuIIMxtxb3u9y/Tt2kdxQrseA5fcVgVDpr9TEu57/fjH1ddEw0Ng6EDMVZaozjNPePve7Gv0A7mAH6MfUODpBfdV6UrUONaXdj823qHMR19Pxw/lG4uvw3g9dNaqwjfZ+oGtyY5NUfGqh2hYT+B0Ya61xYhuYay5XfzQ2ZJzmHbjDdCjV03gtWJd10g/QohEfPqs1Fs75zkRB/ovcLnk1KERNey8hPUWZkdLifusB89KPkZ79KrDvG03cgUi8jfslLSCOsFAyEmeII2/URA9WxTkGhPzPyqWdlF5IlVZcmaVTSKpNcmPmvW7G31a9AO3oGibL6Npf2STD/zfld4xZneT24JZYHMKZxBxne8JbcytkI9/GybWXtZAxmQiC/vDm5miNw7tCnXsoc8TZj+cH792AGZ5IRwIJGRxFqiSxeJJzvsm9rUlEZ+KyVQYVIOK6S2HauEE0iKRax3QUhNS2bXEKWqOwyPt/wBj5Kz42iWWCZ6lv7VD/BG/qvp2DSZ1FERANLJEnYU8buf0YeLZHjK+jpcM1WvKUuUZsSUygWy0n+LR2Jz4ZZF+tLafIbQeOyfGMmW6pLJt2I/cwd5WgKCKhlRoEqlP74MG/ZQcyhlTHDb2itS0lDMUtj5jsF5sAStZ4j5hOXFULKsPJPvo8AtoNVx/TR3Ik+IQWs/d9FZwJSN9rvgBoWHe4syNeWDnFNRFVXPAgyngYSYXRj8Q99uFRJAV1HB8UPSYFdSl/lFU/IrHkHmGddFnFflvXjQl0atHPUZH1lFPwg0FCnes2c21y/spNBWv2L0w1k8N+UDONMB23GDqTNizoMDEsN/YLXNIR61M3CZo8AIXnqDnIg0XhBYmB3gPYu12sPaB/No15sobNaQ/8fSTQy9SlidhmYZOF94OTCZgW1V2dLi4gPupikAgzHbAlD5gd9GESyDpVGVPI1IzYHq1NVhIqssce88AluoGFzkoYFXEkmg0D2J0EP/zglOuuz5h3QlP/fCCQquAw2l1HhvFxCGhY3NhLiyLbqc71/tuDiVuLpY+B/hQtSQfzQWrX3HFWNBRce2LFeJlxokSyEwrUpRx1Ttk6DfQredQfULni3EpKcZz+yMFVOfXi0khFKaHV9sba4JIDVZHdlQkN7hvcz7qAj9cAmFRHf5KuEtUHBnCP4edj/6m3dh0JYJcUQC85REDPPnO9vegOhcx72hvlqYW7ildqmFjv/jb+3/Z7RXhGqeLOFUZcrTSg4wg+3zyHzptCkfXmsgiJZb09h03nkqYGMw2+SoolctGlZTj4dV1nfNtJuVfJXYx6FD4ATIS++nzClCR1qIBZTmitdeQx9P+AbNJdzH3S9YXzwE2PArlvIlFOaTnNIuKtQzT7kjwBI7FSN3nvmJn2lS924PUsneUp9BnNitV1ZaRnFDaT/1rUtArtBTl7VBTPijV8Ljbvtle63yq7W7kjWQT0z+4tZSWFbqKGds/xaZ+ODuLZqFn2e6fYLjVa7S4GKR4my9q1s+duH+HCpWrxNBHiCsCcyhF+YPWynKh6k50OKwmTFeM/MayTUoSLXSJ4d0R3Hv7YNA5J8f8g9QPtHluQWEP0CYwQLNXUiT+Jp0lf5LPjnuJOp8rjNYKH2fJy3TUYhzTp50s555e8vQJcTOBKzYDuMnA0rsQCdskL6WdxKViHb4F7paJukAqYoroQBt/UG2yej8t0MJVG6z2v648w+RWhdTFWR8myRFMwJDZ5Bl1uK17xGqH1H7Bc+k0048jVNyJ3+uIkFBdWks5sSsxPtTpOBgfIXp1QkHd8D2awfwdfjDQ5rFJGdICJGIu3XLgwTITBFQogT7d2SmqAm1DeOlK8VKeCxKv9IjAdGaXpXnzy2zJD6qoKSWjwDTLXe4VCbO3R0ADFC5FAMNQlSQ66Z9Qcm48zhVxFXbE/jQyc3hLZiD5GiZ5OfH4MKw+eaHWEgZ0jldZTcpoPBnhTbXWRpHFssP7vmv6IhZPdLL5xrBB1gIRnFQVenGJ0ZAjolbOnJ/Z318Lerq4uCg6VX6YoQkXBZECZ+SrVVR90hkPiXP3Rm2iHOkcLYyQPBjgm7Ki85fqFJ3vVdvRGlaL/XBtawKN4ghSiHBBvNHlkrx2uIzPloMPOQ3izS0wV8H4Ryadq5+t1jHhkaPNUUVdhB9TsIVKT3MK4Y+AEkn7JFXywSmwZKD/FFAzU1ofCwxVIUiPm4EbnAPAVIc3wh71kDdweTI/Ca9Z88kc8YJbLO+j6japzJaEWGbLOphqMqN0swjEmVRO7wih1Zw8Cjdn+b0UH1MK+TBVtgnC2LD0P1Q6f/ZYBHMxIzD/fG2SJWuWnrNLj1n6BwAybiZFzOduOOsyvoGLHMKunrBLDEdomjTxiGIwzSWkl9EZY98XC72uJQYV8GmHQBIu/oyRLl9Im6GAL2XfRUNTZMkPotvT7PiyVUYe+3IbCOlvIjxuYnRdHXwutyR2cNEqpHB/Iiuh9xUNFIBOF8+s54FeUcrqzDMjfv2qXgJuEOGdwgSu2Kfmc9xgrSq8MsQaRyOdjmcENHReP525yuw/EliJmXr7UL/J6AIju2dp9KTdfyr1b3SyOBZxLsgax4tIJxP5S0OTU2K6lXIDuJ7dbkN/Dj/7LcVlFTm61013wiJntmxDgZya42voaA4NUg1YF64IeHv0LOSjyJeB1OJynmFdgonx6IZA6r+HMBbEpL9u1zlqBs+JD/XbrOzlhWBThVBVaM6hZobSBioxi0ddbOIfSWMudULX3IG9kH9VcHrljqgzXm3xFsre7oAsFnlMS5dCWYGC6otV8NrpfVw2qxqv2CKUmcUFo3PDwPP0iK7vjmH6o8Mk2qWRClbXNMTQgfBy5zvJPGotTdkckCZDF+pDvdZaRb4j/vZB113wZsw4tZ06yUK/5HSwwPhAudzNhj5EwBMolEnZDgusgQWufNu/jlSygC9mOFZKiRQFFqRLYdWMr6iztBxU0iLS4VTD4t1EJBudqicbpvUtGY5RCUPoB9QZlfU2mOoMunn52izquYf7PBuo0UKOu+Ed/VzQJMe/lV/bDkpGcwSkx6+CX4Zn8Yrm2mzJaM/N/pTt3MsZ0Q7NIpGAlG2Tj5yqacNlG0uD50fcmzkRNFn0ZyB7HTvuL6f9l8mZCES4KFlWojazakjZ1UtFopQSqP5DZAyGRqbaz3lchpzyGMNeGCFguhyKmbIgHgjpPIE6alayilTl1ee+v3Ghr/T9OyNIA1Z+mO+Brn3aMkYXKLQJPpvcPZKPn+cUn9lQpxXQ0GS2TGAVn5QYJt+6cbm6M02WfyJNA0eFpyMxlud/9UoU92EudFCoTN/ywHwXPnMNWD0v40bMhqrDl1nyT8mKGTDQktCmDrYu6ZyhH5xcZsmFkE/gppScnSYyrcUdUWcF+goTEG+2Kn+WKn1mCsHvwFa5gU2JOxbAi0Z9oUzZb1plBDM0jlv3uBvg7GiPWvSWhBgVMGtn8LMOBvBZ7irVFYL24GIfa5ybeENO6FSNKtZu7NcNDLJuBQmmHZ9YWvcVLLLOybftAezX4t3PU9jKvB+0AJt5TzBGAp17q5nYXoiSh1Cp8Fa3CSa7N/9fvqEAUded8n9m2AsOL3YnFntgEWxryx+cq1wTKYyzLQ77KZPv11SImQ64IIFm9iYq6UxjjURjJTmMENAncN725oEIuqgcZVdGl+9ARqUsvoPrDjfMWrqp8Q/IJ5GgPtLgFK07ESwksdXAcA6jTiaQSEc8pT0dtYOF/SiPPRC6b8gxBXNjBAgwLIe2kv4EvKX0PZVIenfLtznjkhgtHzEyP9BNCyUWF5HebCNS+fxJYPkFsZZbNFsTiLWiVq0gPcjYgMreshp4SGkD5pNp976KpAt6ZI5AgTSQs7agFsZfoL79TcuQjHm1A6XjJVLatr65biQ+WmblIzRtLnIg6xE9cP4zw/tMCY1aH6elDgIXh88CAaH6OtZigW3/uVYuWBZkWXSUxR5W1XB3JRv4P5vytgKjjanjG7fubm8cS9gt1I0pwTLTNJbOpFCIMZNyCiOZcIrYQPSIUSS0wszYVA5izITjztpas1acGuVAqwogzyIAqDIo1y9ZD/95O/YYXi8nYSRlEMQpB6367KLsYbmi2b4MiFL8WMMPGhoj0STrYoIr92ql2pW1kFBsoy1lQ5jpwqVRSWaeSra6D7E9hyKMJVugV9LSjNvy9b5/EzQopp3mUqyuyBuflQFRfyv6SCDHfq0quLIIGBqb51y7qB/em+XyrAlDVZgf5XNFfdPamYcVe2iPpeUy4nNEXIcF8agAhy+Vmn11mQnEKPJYwmjZROGOKtEtzkmuyaIfxxqS1mi/CNrWXfDAA7d+J1ChsrVx8mKEcooSpgMDSCITDu2MswL5DUFG8TjIWw9RHvM46W8ki3FdPAmWLjIwVAy7kbzx3Xevlo5ZceZ7DaytzdasGiasfhRD/t/snIIYBOaRJDZ+E84lgSrtsH6aIOd9Y9JDhkNf8qUTLvVHup6g9950SibM23ZOEwWDOI8QJfxyHL+1ePIb5aIGb0C4ZRyCEVX3mjfD9dE7Qp0MEFURLmdrFgGkBbtzPOLhqRKogywJKU+sdjkBABgFiagD38xgMibq/AH0ofVH/O/SQg59Vd6Gislk4mwPSIuizZqtFReIA1w+o5XzlW+3aRxI2Co1hCTD+H/x4eQ5EOzozRR3UPSYsAj3Wq1VC1l3nyOTvVv7XPmnaPzETWvlaH7sb/U+Rsjb3M1VR/fYprFiwloEYcyW+zcB9mlRfwB1nJD7PuDPnPlfPg78zN5/R8JdnNjuJcZG//kiPC2RsTYzMLhxhBhBvlE+FjmHUjYGMwFH0ihlJJsS2BteVH6BucfbkP4xyoPxrIQRPRri6csY2JR5JQ65B/VPJmQq+LHdlDExQdptGvsrUd7K0LUN7E4wZKISQuSkbU5KdlCN0xt76f+0kyXi0QHDnHoJ71XGAGTlp0esagghTtGvYAjS3cSrYU5Gkn4R9PYxqJwoJEKHuomvGokfqN1ts23jrayggb+XRRHamoO82BMjek/eYYvPo+zS06M5hdAcRiKH4JKaVX/5wD5mRHwucCHPSlTI8No9zCDHSiuKFNdSbFLfCFOS+ec0TIAEP6rsevNYoou2cCROPq6/wt1K7JxOqVdsiJCfIT8hfpD/F8aiCx2bllEUNbk7vkpxiHB3Oj90hSBB3h8ec2eJHSUEDwCZWY/myHY3gO73Wg1N7L2XkzqL/gH0mKiQ9l/IEyy2g39jnR2hDN4BqYz/3yGvUiYWkbXvLZcLbJTW528i2JnOZdl36a2LSx3U8xCHckNlaByErtNCxWQJDVe6DPAnc0nwdy4feezd/UTktAih8Mo3AB0nEinpfMheLIPHBCTpiuq/apONzSoLmox7mK8d/PuGeLbZsLbsRHiBXIsm2DrfaXox2Q2xtUXTv7faR6X8/pLiMi8H1kb5CnjmZ5pm23i1BaYI48MJb0pt9oQZYYUP1agWtT/O/CzeBhoJT5OTSESGe6hrvY3KQuWgrKl4akT0AsjxaacfW4iwE8cwVn9P/YOrnGvMFrySkpDch/zf5fI7Wx0be5I9MR/OJ1ItCtJMZiZDZexo0sxCGA1Ey1zdcbts127rMxlJzRJ1CriilY3AQXKAXABfJIHXhV8F0eodc17R+RoGtPAzTB/xyD8a9I9GkxB2y2GCq12Hix/bYgdsKsA4IQIRXnMkUiPM7rSGQ76ULpVYIpo0UqVHd0Es1uXGUc2XLVFpILX+OqBtV+klJecUeJGA2MhONNF/A6txKSm90jTkDawrjfkhIN/Fu/nqbD0mBGxFXUkeUsUUPT0m4nDPkh+riYG8V7vv8DTFbZe8rWVmkqyfnTSSW9tvnvqFiE7C+F1/J93qDKOzfnoSA4LPrgKhcb3UtuVlcMuBVn3AQejZPziYAPw9nNCUJFq2LdGxPgdJAPe+609Cp9lhJr0Bl09DY2KOBOi81akd4dMlYyoTmv9r58sftF48Llkecz2HSi8u/JZtzkfdENbOhBZ88UAgKiLNi8nSa8tEgTHzIy8wqJd0+9yZvoP2kyjJhZmaZi0zYcOAw5Oo0f+eGoQM1LOYuE5pCf81+p8Wmw1ZUq1RvTC1f53S8EplTf6B+smVKzYjyYO3GZl9Sq2wJ6ZB4q+OREjmspqRs5e+E0xGXhdGHQYh4cbcvjp3R+6co9D2rNvwKjiMJ+uSzTlPMZsvkMZphw1ZqcsVKR7IC/hrUkPghdDbcVNPFlyacY7ld8gIQR+UMX1iAFNrHhNSQc1W84x+vW6ONtiulnZRUKZ06RMIx5BUbvE+15xeSmU05uFbANm5RnIU3y5c9Kzutd+eVWFMaRFNuP/OSCP1+3iD0vr5/HO7P4o95ZPgU5H7w6gVlxcjk8O1TRMZ0EThm1WHhAF6jnuI+RozBX7weaAOZLzeFPZWsMXIPgOSXNN8IWpa+P7qIwxKQZ3/3NX5zTdUr1iYcchXxR6qw6OhknPCXzv08XX7byTk5nHCZlNbZsOnbGBpt1/yq+9ZWcrkjIsahC9Tfwj3/ZPr/amxyhuCOmqC9wkT+Jw0tCTpegRaNUZ+qBUWx1MbzZwKIviDaM/FS8kG4m5AJfBqASkUiomthx1knFV6eIRc5eqZgkno2WqLmhp1pcH7/CdXSkjJgGGZpukLBzaEBrC6SfWPE2bpCBS6I0VS1c9CjEMGfk/jS2PjKnFWLz47TEtwSvADLcpTKd0AuZIlMm3VHtGsIBlDncTl53WunDnAPLCO5PKhyYdz0WEt+cOcU1pTC+fVCe/kZMOvhcnH02yq+j9AyeK5NYCW+D/0RpWYbLGFYSp9Uh/iAT/4KZlZGXNqtsDm7/AzRhv/ztzs7mayi1JJi4fHzYyX2EFet7ghhW/8ixkuLmb9EF88/KChzlp1WOlfG1MOdTk7HvvTqgjtxGQ+OeKuBoKQctYZdwEXigi3kkNgKhH0JHLjsfn2ClglaWOHJ+dwseNnkUerNE+yPjkTFlQ8RvMvIGJ5CLkpCkeuuFItbp0QIuo65c6W0TvfaZyruzOSFsNf781rtD66jdADrRTVrxK81ETaoMUnBNnYSS0HSJeAAV519N++97PPg4Y9EoYsLdezkYU2HG++vBWVgd1E8DNdfeo8ruDOAlLhOEmlOq/49ML1m0Adco04J2G7R/cJ8+XNvrua54kHWea/rhgE+6SVGzPGtpL1bAsGk5zXTHGJi7qD8EZrUzNZWv7BHXFI0lKR0OPEONjQtMLHxDE34cW/bM3CKjP8yr74rl/cgEYea65lkb7vLlsLnAU6xjJlctfVr9ENCMsYTZzfbbT3f7EHH3T81us/w0X3maIzrw+XYFe9K0ithnHOALyoNxUzcmmuc+kSU117Vz9M6yZ2VPcixM/aH0v5yCdcackauwTWaTS4er4BEdTbmDncRbhBt6QEWtKFsjg4zLYC+7oki7DBVk50wmMvCb1H377ixGsdg6R2PXCqxU5h3zvM8ay/ViRC2cgZvjqxQgR5FrEHMX+Bmnw/yyGjZjMPChzc5YZcMi5cJykpzfJYiOA73La/yGCsI/m5HjGpI/xggEFWAtCbsagjwsUpRMThKN88bulZycUeUs2L+LpW5ee4vcX9eMCun+DBXw1TX5sfcg8PK12RBVGVrQhst0lUXUnzyHyudoJUJd7S9diP/aYnt4vZ2OCDBYUzeAM4OEyzfscDEiRhzfLLsgpaY6RPVsXcQ/3A3GUz7C8b/iTckoI4h+6bspzZeoAiJxwAs2+i3OqCAkV26jhmV0fDQpK/5eaGy5QfexFw45mfSILjtKN1hqv/GKBDqKcQdADYdHP1D7O8yvj4MOvB/rP23cGP1uDpPllLl+RhLhDRBLLZr9dyYnAYq0FpCw42CA0s8eEIC3B5pXoOhwF2QufwgakF4sW1KGLq0iHncRp3IqSnHzlFQC0q5WKfCPJloM9kqyytNZbLBtfRyKB3nZMSf43tAMeajExZJHtxRFWMRpspQ5OrZCZmUipxYt3auMnFlTThb8xLFDsZHbQA0jmvh6e6MG8pAeqlGtkL+O9jLu904BV8vN2LEetKEZeF4mL9fq6M355zE9wlSzwTps9gRnLzVwZjrChUgZ/H3qpfsuvJr5WUZ4EoMzsCEZIzKirvG5vCN+v+sqi0Mr/XFIGX2hRHNRP8OYuXCFGc1dQnEWFHY6UvAWALnuzuxZAXGKuRjdTT1IWzAPATc+EUUjaC1WMl9busPtpkSt1F1SURG7t+FyE5ksUKhGdmtjwVvGs2KNcuf8fKFyucI5mSQDHfHxACM+freAsVQHfdPO8eMc71f8EcUaVZfldLslrby20R6z2/RL3WVFfyzS+aCveU7RHqJ7glPOUMKyFrItZXeQavf3Cc5SEDMjo7T6+wjCjsEt9db4WWvgiVs8/GHCIuLV7D/Rd/CH7yQD5tCrj4wjCf8cnWUAQUb3q23q1fhcd6UKd/6uW5vdVQD/IaJjjsTYy6qc5ZXXdFNF4Fw9SxhuGrTcr5Y7fg1tlIb5Ou5/7rIRoywSjqSPCzjWZ+MF14fVHoHeQBxLTk7iZV1Zo40wsI9E3k7/8Nly7u5/8UV5H4bGfImoD1F37mrzx9K/oYed2699PFNDMt5EYlTNoZFj03vF4CXv0vJlKGxMHogcIhRie3dJy7mJH76dMvz1PsMWqwlzKlOM5t36HWtJE1uSxassEXH28A/T+N4UkX6gKCSCSMoWO3tURBE+LV+DjMcfUOEcHJgmUu5lm7um3X4wVjilu2MJWqWVF9GY6AkkgjUsNzOyOgwTtieP7wNIon3AVUak6EWv0+LQcQ5O6p517PKFrPDlx8RoZ9rUwYJpk0L5b6/JG8RzjZW6vJuoajmYzPu4tgw/s6sUQo9UvvsdXiV7NcYjisEKeRhZbl4Yrsq2R4Nmq+5SgiKctniWEsejXrvso/bNVTQscL48XG0fHkzGBb+wY24T8Bji9lEcaQBTltWW/BjQS6B0INI87NTAaqDFPl7NDGyjJMpNByMgZJV7ZmXrPastS1wU1f44oCvyHdBkl761zJava4uYnaG9dg7b1Z4cQPgjmghL47X1yLWf2ks/DdF6KhVurWfHGQW7ObnffNyre9vmlyLcxwbNc9RqEjm/4nzqOlUW1bfleWnkdOBtil+Df6dyMUsGMXXGfaMUUf9b0yygSGVO3D225yhLRWKmI+oOyn2Emu/cRuvvTPcnf3RQxz1YxislAnYsnUttthJucUGNHUH42+QZYvJjSlg39Jk9iWljgzj9LdrvHtC/pr0CAhTSq/ggQU86A3CjCB+JoAZ5GlrUeTjWKT7KzCcLtsuwxACo9Mby+9Io9LGc5sZEVnRMKZQZAv2ifdCvSrNkY9lRNPGtAJOQyrRHH8GZJxll7KixLHCTTjkD+V+fhHtcUUG1PBRxmZp8spjMav3lww/3gP+U5A1gozMqyR3WYoX+4lXh5niy0Pvh834rwiflVST92nq22y7X7miHnkJ+hbVH++ZC8F9gq/tcZtSNpjfG/OyblqwW87RNk5K48az3yVKEC2r1Ar14CVTISu2Kx3PjE8Lxqz5gx/ZZxmHo0YZ6LzSw1p7Jo/tzV/eTK5UA6ac6W2c4Jwb0kCitGJ+a47ikXOYxGD9P9EZvEr9/0OkXi8Ay7yFUzCUQB8Oy/t9O36o2MpkdK8hu4J9F/3apMamtb+boy37cXrI6TCcXBeDQOrRczykEFTG3wGzeB0ho2v3n2UtDHvl1073VhAGT0NsscGvrDrtb25Nx+yucZ8Ltmk2sp3NhipEYvrQUwwe8CdxNkyJ23C3LiyrJdHel9iOv11DV/JszCf/b+L7YnyVVcvzkMPnnmECp+pnQDd1HkHch+CaprAeLJ/P8C11FIqVANrkfzuV/sYeBw0JRxCu0yWdzahTnzSyGearFe23Ub3Nlx8DwiN1y1V4PXLYElXSnl0aK/MobDL8AeI2GyTGWye1cj2E8YfY4wboTzMPRVSdrmAM5FzQzviv1XBKNGNzj22LVUyeh8kwflkhL7nuJOqhZuggNcMhizrlyfPR51jPG3Mf/+4gZwXV7+MpFS7GQLHIFqnvBa0UPxyIgVtPlrhHl9x1bgpWt6NXl7x5wxnlZncb8tfRjgHZ5TBNl5YWvdRt1m0tCeypCJX8kA1EUph/kZ3HKwkyQ/3cPI9KspECJ/1JgGcFjCB57aIhxKApcwpd1pAb7uLqnW2CcPcU3fnDcaeLn0mm1uegc/T8w3rEaU5AVnbHQ4getCh0o6/tLevfvaIRaTMsnrteE6laJtlnTNwzKaO7RJvCIljeX7uN1LkcwNn4+mRo72oqLk8Agwm2cX8MSrV6rLYU644/zesgl/vvewLJ5Q121mwgQkj7bbTi8hCyKSyMFP8Kic7ZDTz6WNy1KcYozJTRh03cI5K1FqzS076+ZE7cK2eTELMI7LzgGiWCNF1MDaSYXnQ5rkVlMBa1GYaXffWf0w0TUiWPiD7zVUA3bmyhhXdC3rwEtCyEVD6yvoZpn/WbM2cjQCCzoNrO3JDYGM2fJVRDoycKr+51TCfcLK4xyzdvMSGWt0tLinS0Neh8CIedTR0gK5VQMhGE1HxDA2mYhZgVLKmzaOGI4wdT2A33qQn/kFYcdrj+oWZx8ZRLysFhdXEVi69nREqtDUzKjzLxIOdgXKqy0sIl6pySIOpJCq1XJ8xFdVfwN+CLjov7+92dB1E15X48F1yuWvWIcbMCY9/Ts1fZkEIL1PQkmr2p8TrA/FziWqjp4ZiSrCVFM4vlde+XBoZNG6+/H0JFb+9cRo5NojYlqcZvmcnQLiK3YWNn2iE2evf2NGrHmnViW5FrwXnSXsuWkHSsyYDo4Lpg2aGJc0p1WY9H3MHyMnXZtxw3217RMflpv60+CJjq5S/aodr8TZB+eFM6qHItkCYFc+29XDgQYzvfOK2xbBPwXkBL2v5b92KOQEUwGQ9yiCu6OPKp0eymqZNzj0rMO5s8hvfTua6R7jiZf8v7bkHlzq9sp/4NHHnlMnand2jN31KyYYRHFORQgBYHYPmGrHgoUlDB7L6bt3ueZ1hcWLo9DJfYaZ7wSLdw+oMwCefojWWu1BElKHFOAv+io9mzJ7ui8zLYlz7yk1RZFeaxOXvgxPO06k5/md3w+5n5fx3fE6hIlN5Qw3yDstce9aU0016mPq86tsbxyIqIULJSAJo52SRroe8PoSWKAtvasuAlZ+FWfivBe3JbQy5EYSJBzhl6bCw9DXdy9huc/WzVIjpZGrrCBaR4Pw7S0FmC2WRJRsENWOLkCh+wtvGSlyOzw+TA/Bq0wqXJmi6S4a3krDVQ5Q68AsZG579BclVOXJhTpwrRcsdFtfiCN34vRK516wvXxcte7mTaFmeIN+vc/QYglyFmKW7k8OLFHsqyJN12pIUE8rBJJ9DSuyw1NJxB/3hhhydQHQdmb6JEEhG9Qx6tkUGXkQ6/AeI5/2aN8ZDi8d6F1OF8Qu0+FNHFBqM71VOAgSkDgbcs19o0qyruYrhYcEoTEM8qgX+gL4wuB7Sn1fig4hCDwDWuMheAgI0JUR+xj0HZ4/nhPmlG9NhRX7gXor/8d8LaaY15HopuWZtwNopdHQU7c5WE488OpiUW035w7+3mnvNFmlzA0vDruh0MKkoEPVjdOycEE/sEObB5tFUq4v0Y4OqnnseVSl55uT2p6+0zpY8VcPrl6WFR4qUq3JfgLxlXEWkrsnuH4Ovw0P80U0nYcRUG6bjrtzTiF2+76ox5rB3Qdb4kwwHkzhUe13mZw1UfZA0DQqsO3cW4IZM3PoGxtGd7vEFja3ZbPmAqG4TLDlDGjOW4xJXfg/WdmMG511C1D8Pmcz37YAErpEj+YLbgrTfW5063nyqB2Nx20kraxytXoPGDhwfegZiW8AoOeli+UX/TdnW7Y+ZOwxVV1xxVTSbIQRP6bUgroS1uOnSeaGBNY7p7MSJ2oGkLTq5RZiQoDCcj1hQxKn1HbWgxl4L/RXYtAnCcptZz3FUo4TOYSigS+7DO6YgWKEgJ9y9MhxoQBphl/Y/GsktLtl8PT+2m1Bjqn7XvZDCePxzZ765vu7HjQjzT/MTvZiKxmtfGVsxWjR+wz0jkVmCvgtj3OaJkRJONuyuAeRtTGn5YXxlU/3KsY/4ADVyzuOHSnbYEg4glGrbc3TSSPFLDKRW/yz2v9wclNuy4+FsWFUkCU0hm880iRGLu8ZWGZ5u5NpsILv5Nk0gr+ai7Yc16PUkrvGIlPU7000Ckn8chhBWqETg0NDNwEW6GUidNJWG1YQkx+BuNuk9yhYcjpSSKuAOlmQwFnjUFsOUFsvucfr3BZ72tJMAAuyMh7P+FJnhrrYK1p/m5X/Z+n3SfMJ2lOXLbJ8xjLDW61kEtIkyWKpOqd84ioMmmaU30Kq6Q4B/vvcPkpTUfjx28YHIYVGKghPOknU5e7f5OPSKFqnqTeUioBEDfEyNjwmnehjpLbkq7clF6xCxz10n5v0SI4zpqW79hWHddyB6e/qHv1hhRoXi0nbJficruBseHo9dex/zbL7zmJwOAhQ4yiWNh54UVi+tC1PAhsLL9uVJSOhZ+tj4GeLCGDgAzcNaW2/u5mN4LfVRycPKnVZ9EB8FgzcWLS4YPGDtoplZ3I6a/YoFhzC0Nsk15y17FAWMlq0ONz71VF9ecZQrP/BXMyNQW5jA/6Yt+Ab0cFE8zfcYsvXzvIrzKoBxyzneoTONFHgGEZrLCw+toTdrs4KR+G6Ih+dcAYrowiUjCowm+qhH1DADWFlS/ytKCaUNW95j/XSVYIIjDmKXEGybwSd/2ZNC+Vc6g70reCMIqfRulygdQwD/6TPyfUzpPOHvwVrZh+YLZio0RM1es8ZxYDN97i7CVizKjFTwzza0acuAsHYCilKJzTGYrCuV6fXOete87QtVESNPH/aFSB/zpMuvzauzE8OUoYRZneS+ULzO4GVaci7pbny3BUWI+vydFI/xl4D+g4Gp2PscYxlB7lFjijFwXa2YOTlf7z6P/pLq8f8p/4Ua1I9T1pRzI5lweQFZLEQg2Xtkx3myQZJ3GMtC/ZIcx9iJwk1zc+CUeYx2sh7oRzNRRwQK3F2O+ic9055hso6242rT0yBp1YP2EQf0Wf+lSszR0fN3NNlE6Iy9OCSKL94PW8pTKhbB/NtY27VWNK3lub33K2qRh2W0hQRogkKtP5Ya29+vpI3IrTGblGc4eSMZwdEW5wJqD7vJrdPtqxr7i9VmMYv7EGsgGKpCEBhJ6shPNYUfDWhTmXwHU4CLP3HKJT8KoqXoNiHAYNbuhmsB1CHeTXPxqPbXdb1wS7sKeWHQC51fUFmkvksdwCEewImI89s+AenOEg1Efbh2GgQWvUmUrlX5DoBUdhIjDEWIENMYCMR74MYZH2JdNPvAf3XIyyRNGICe3qXxB1lsHrfkiQbBO7O078LdWXbPTh3x63XBIU75B0LfHHGv0D3ltuB6Hu1SxngO4Zslx06i6qA5FHVRLhKwdOZPyjoplqpxyNyiE8EnTn6FXlpuigwByprdIFT3xD2Qlc5Snc7sl9kQKlOBy92R2PjjveqCZaylAl/FsIO1oRbT38zuLt+pqjNCMU8m7dx0skqG1TdygMwoNN0LinvwmlGFJD4q/v5W3Y+XNkkmEE6R5t7Zoo39k+Wx3uj4lyOPBTxuaPQOw54uEBm8GulyBdaAP0M7HGBaesErFPLIPG+kPm7ZMP4KxLNF8pXXi17+yYwB9EDNCVxu+8qE1vGmg2zZ7GZQPovtwBINeQMlsmdxwdUOzjNB+jw2a+eQAfW9rD5PLhjI+2xe2R5wflDDS0w9Ch1toJv8XP0oi4IXVAXWfkXuggnN7BbfXgovV9+BPpdwzqdcjg9b0ZOyt8u0IIZv7072ztFh0QRxFqHka565CHNwaEzI0s+clpM7/gVIA+vWgwO+ppSWXeqSdHkiC6Lzx6w1J8dmvZeqn45GK0BrbkW53Pni8MDa2LLIlg0etXhBDEPYECg4voBF9nUWYH7pKSbwb7tSNl3sBOHrghlxBoNt01pRWRuO1yzG5b6vpwh4sICdATD6QmgBq1CPQkFFGTBu6W7AQ8J9wj9035G+tRCg7RBttEJndwbiYIW5c+edozyO0ht7U1xKuCRc6gWwQLnLn6sjn960AnGU9zb7B/oFutogy1+JDA8DPAdT6JDgA7zNtRfrzKLRRcf0y0ylTLitQezvTKsPM96aDa4+H4Az9frZCfo95VVJDSSkJbS2jx/n0WZ1igrb10iMlPF7F6y4GCU/E+CBZUQ5pe/M1brmlYLj9c8sToWdF+BeHMxcuDP05/cTXttA07QgCmKP5ZR6HBM1jk1Q0F6wlBJixODrlgcK1c25zCOi5cQZ9p0xE/5+FVaHOnZ2NuKKRkwWJ1+GM11PcQwbYpZxUISOyrR07mujKY8xxxga9HdNZTHKFEjmxaRtenhV3O70rmbjD2XgXfNZ/4xwzhEHuzuWBmNQ6w0ARbYNQMTbzV2ta/B+aQ2bs7KtEY5CaVCXMYuEu4ecrnl4LL9EmfxEJDto+L3bV3mMK4NaCEVTLGqpzpGaogn7o/OyylZlvkFiLeZU3k7jirlYPZq5zo4s09nKlZOFymtOJ7qr7cm6KilXEJhobqObclzM74kSAPnvoLMD3eYOVJdk14WgPY2v/OuBXNiiPL1KQBHGhSKxUx4NfCWG8c545ENaB6i5h8qHBrZ3RIPinHUIj1Dc2g/G/riSWI36Ayyok82n9r18Rurif1ha+dCav/Uk0rFVLuq+s3n0dPGFLNK19pEXKiMXnmUjiwlur8ezj/Wjb2hoezTr5J8q9j/7uK+yTLYEkv2fWv++DrYi6FeZWHkGLA5i9XYiR2HqGGG35tHhMHeEsnmxgTwbTFKOZt/7YnModNA8IuNlT9MJpZt+ovZvLGs6XpKpqpBYlIBWweXxV4DIUPmGUhhftCaVR4Xod3ueBGAOLcZqbgaXAfkSESS1L1Oof45XsmLN5UU3TR2lRolHUy7IV9xR+pgVQwy/szw/0JDNwdki/PWw2Ga4MQJ1X+mkZZuIosGsew8XYMr1YpWMZbJDLow7Ug1C3X5krUoSUIYSTeJce0tymWqTSuMqo0YM5NRU/NAlN3k7r5e05XLzeRy7K5Eedb8VB8KwvrmrKY5X7a8SVv/I17KeramdKkl8/obBB/XLAPLD9zfcgF1iiAVE2BCk0g/xFMAydinohasIgNdn12w57P97BOEII3Rbnl3OIhbw6/7HR3ipnU+aQVWRIb87mlVa030DpRPav8DUEHIclF4VfTzj5ehFCoE4SPSoIR2/OxZNaGkzZ4q2DA3qeomneCi7Y5RoCWTS+uLE85aHZmTvv2bP/YhtlO7c2Xi7O+mznG+9ZJY8zS4Qj2eNtxycnuT7O2sOQwQVt7V85LYZPz1irrkAIQIKBiYTvhOIX2n0/llIl55oqODjr56GWeE/Xb0MEqZv658vdpcugTsd4JS548UXG8qJD/lQFVqS7/1JCWNNrHxjKB07U7QxTvrfFwlldZ0byF6ZegjzXa0tybF8OIUVYbXYByU1/N18eZSyeGIszTqRRxHQBDMEnn2goTCHHEicYT9ZvYAmiCD8qpmMH1NVq1p5iAnev8YQU0tdtvjDqbhHowKSwmQvzoYDiZ59jGFdbEW6BQ7pnQqkPtQZmmg33Ex13x2CjGx82yyHNpHi6bhTvRxpDlNzaPqC2yU1EGRDA69qu9CdcOIZoe6h7ST7Tiil8Qr+WgPwL+ypSANbTuEUYCM8b1zk7zsAhLjHsCO+uGVQoCVDgFnBUM71mCWWivoO6D76BxHZ100Be+oPRFMpLTh6d2IeibGfDweT3p6H4x3DBcJ8biBFc4Er27v39UFKjuR4HPlDjWINT4eUeTS4qi1gXDSaJLlD6RIVFqOtiyLW+YtiPIhs7+21e9cZjO5SPhZKc2BZH99qCu+vUWfxJB2gR1dQQJubNLpuSTcwGUMio8Rfs+FkAWNeeQWaRWfMhbJ+bM2/jHgkx1a7U75XN4I1JXJsAOMyiSJ82j4xm4MB3QaVxXm5/Gpspd0yrUUEyf/aT6kBZEDD5cMUH8IOt+3znspKFYNgt/ORkd8BVjZU0ZDqIz4hT1V0Ukr3mP7Nli3yHBvChZVCc0gxwGOuuGuZcs9w+75a6U3/MP+3v5Ww7T3MrdMHiSJFzmCPOJ8AvJ42yoVLldKRy/vCt0e4XuPjqpMzvVev8qJBOIMrPPBNwilEGwyNePB7a7MjCtRf/2mV6JWMvSYnZKY5f0eUXRy7k/91F4vaox2gQI1AhKLcCkHFREfbb2B65FPrm4l3si0LOcHeoLs9w4vYa4gMHL4zmqzNcg3Q4HspIN07/DGoGQhWvcfct/WS99E6jgg58Ysq+Lr550r/YB2HbwwQjYhtWsek31lF0YpEhkLCpdfJhqud+CTLAXJmkS+b0W4LN250wcJKO4T9MvdW04TqOi/vtj+2D/onats0OqIlM5FYk47gwaNptts4GbcQWSwBxc3g3ObrYu3wqFDnwbxDfXVHgH/FA1fITApVuAbDlpX4lmVLo5D8WSa0lD4iMsxUkDq8bwY8cl5vLy2EWoEFvAyNxvhhh9y9O03go/JXozWcaGyfRcaibORTSPbh/BPSkSteaBqX0Wi5DCnyRlVSc5v+YFlUyWh++IXQfHoP6k8KwjVmTN4Ft+MoYn1PZ+KXk2sRij1eJS3iSM3OlfH3nwsSD6y5iYMzjB7FW7fbEH+dqs5rPdHCo5ukzJaL/QB9RWkn57dOr3o0x8erwj8ilwqpcrtBc/bWAowdnmqMBCuidmf57tzHdDj1UXdoMdQyNMfYt3Whfij2rWcFhv+amdcmOyp0CQusi0Q3w87/q9s5FAzte8fXf0JZXJy9w+nIiVQEEUQt/GsoLBcq02zuJMedZLT0+6naEzANmooCVSXTbCoaQlN4vVTu3Kpm3W/52Rc9kFR4C2YPxM3ehtWOp2GMOGGlCeV4EHkpiBV4XfA2EAq2jB2S51HvjMobZXoFcYNh1p0hueu+3Px64jDxOVmCsQ8h5piUbxIhg62ah2eASwrbNU7oHocXWsgr1lDYQblUUXMEy9lOgqtq4lyzs95ux35wbtbeE0Xjxj7RCl+NaHXeamzTXjCqFZ3wXIfIv9UTH1SUXu5n2sMNvNK52Ttiy0XPz2N4GBRMeoQMMQEzRxeqoWytl8rHVIw717dezzeYUp23e8Hkr4OlNktWVOvBeuPxkLiCEZbYReuqJsuW/pqEIHU4YLUO/jwV3nnObbSQRpcQE9nPJ9LyJNnQu8AE0Vkw8p0fdoVKyVpJLqS9hVBh2jVYtqO83Yy/LA8NtSV2vQP/FI0gCBKiZhscQbRQ2KDj1uETU4e9qoZhunRkuK3ytb18d0LBMg1A32lYdAdtE0tWPtqob4hdzayg0d/l7R9NN69z3DktRvlmOZIgVaHxhL5c2wCShq2KF9C29pabCRGiBQKqlDX0tMutlGqUsjqHNilGDzYmaIMMF8m8UA16ZWXg3Y65gSWihAwSlvDWhg+KRdwRJTetn2iSlCOneu2ttbLQxwZGPQpKBB/ORi0Hi0QGAuVRYZuaJJDONXPQ+Fsm3twY+hr1DyrVOTeaFVXGj4zQVswyS0sA9lh/V2Wqh48weO+rAam8EomweLhVbhUh3MzZcN7GnZQxLJaWinhS12GhpJEV8nBNptDZ9F2vUyvzS/pyHNUtn6BY9NYC9rb1cU3Au7NCrxeHca58E2G3zWoLQBGaAnw/btqj2lJhEVjlPKFtc4b/tre7ZqW8+MMb94yNelaQizlQG/lZJHaGm0R2dR5lyl+klhSeWXYEfUHNORbgPGiEBeWDE75Kb5lxLFcjMLcYHTaULxkg9/8Znxfc3w2oAcPOZyXwOondG/q+H6wcMSRqbzoDt4zJuGFD8G+88eot9kGTxhK/fdNyBlFtoDJJKKpb90VJ6RdNzMHwQiWrSAeV6Ejj7v61hGbO2582MNX00Zta0MGhGJtKt6TwEClD5H10xDZPdtpQQ3xxFEb2Qe9h2dYBwV+RZzsl1DP9Kqvzc/xP1SE6KUka5cXvag84/zo0TGxLPQL5iCVh/5u9biUoNRaUmWC+zkVa/Jvd6iGgL3VHrmLLcIVbWFCvl0FZBpF7LBHPB+962JClwXfLe+Lu4aZjRKLQ+V/VSng8LkQX6EQy/Av7oa01M/mheKfEM6dMeKIQ+mDychJputtrtKymAKYQgzV+/w8+1IrPyKaLrI9JEqxWTwbPkPxUK55iX3K5kiO20/kRx8egIPBrBt4C/WAMLq58jXR+jHzEF6CFqqexZ4Izt+HiPXoWwmRc+Bdh1j24qSLXxcWMyqlA1yM2lb2c13bIY5KIeiSrp33geuGMXxZXqMx0y3C/MPaq676Yth+ZXbypbIETd2KXnWgcsJIl8NKeeK9Ekeh+5gcOhLc4QLH6akwvQb4IzoLdcXN5WlTqT3sUMjToXM/cOFwQiLLoRyKmO3dhUPr3WJvwYtdSernENDJCBnlw4ldbK+vn9FfSOICAw0XcBiqqZqkGpfPY8ppBZH4WF9mrVtuSbsEtiliEAoZeR/q13WnPCXxOzXtTQnZWNO9Fr3YLBmuEuPMWicyCN5oU4yCHy+GclaB7XupfvQXOIgobEXaGHsLu7cdlVvvRnM1w8yVAYLrCj7QqrFqXf1gkXnQMDZc+LiPGp7rOGFEh0vCJFXNvZ658HAKKeoWw5kT2pKgV4iQ86sv75klbX2KIR0+haFirKO70p7X/n1MolRD81bwHJX9xyYg+pphvvELBwDKFG+QB4Eb2Vn8aZPnWn6ES9Igr+P3WgrEY447KXzWoxhQIswCu+fNbJdLk0FaO3AEhw00dIwycPg/M3b1YCL+f71jI9OVjvDOuQQ2nEU7JXCtS8/UC+3/eLp2PO/SnKz1zAIpuxcXlsTtm4XeYQccVDGGOYOEYK7JdquywxbAwSPPjwgyYT0RJIdCNA0QETIDfUg7OFWI9uLtrmwEBE4XHoecAcJlB/ycmwZpPdJr7d/7ZdRBur8p4lVIpum8ATv16zPCCyvk7KoewR+WziBAo/5mNJ/cqowwFzom4yVrgxGQpdeb+ydKRc9c/6HS0PRgZftitgw4nI+oZXmG2bGhzfTXmiRDashV+Xc93jhfEPAJRN4yuLyG5ACVk7AsKWYkM79dTyTPVUkbDYFeNdbc9uTcwRfjPftVRzFf+gPT4JU24H4IKmKGQKbpuP838AOrYK0EJV6chEcmB75GdhwAgnEM8b3Si+BbZzfvMUabportzcl1Th5rp+4v7u47u/JEg+V8kj5kxra6GbpMC7GnBTNJMnLeaws11AZyKbNdpUD+BOl8GAYgRZWaySeWkY7XMblFExvRVshAcFqIpbiCViGwDSugjrA4l9aWKGft9d5SNBriSKH6X88hJlVeTIcUie21YlCAnwYhhHrP5lpj65u1GniswWR+NK+96UieJY6rX6slqAsC109UWkAl/RSL+/n41wST/Os7TFBW+eVG9gDh+D2pXuDi7/fepg1OItdHR8q7QqdRjtPJsnEdzhuEnBktARMOsANDRxYIvVhSRe/sGRzGQ0lT9A7u7vdq5vCsnr0PJXNmnLwOFjGv2BCQjFQN6ooL4GQoBeZpLIAwQrRErEcEcwSOqWDGlsfUBY1Ewl42YDD5ZRiUj+eq4MoHqyjIbQA2xegfYywzmqMeJ9O+QLxugiAp2GZH2dtVNSs9Lhwmidn/iye0H+qHYvepUFE6XQ6HwTnNQwNlulL8pQsLDVXgG8vbZ8gep0IS1DyAOuZRDP5t9bhGvh7wviB1Haagwc0SKHRIHr0OS74nenX82zu60puSsMKH76c2K4UzKilanpqkZGWjkuysd6n0Jkp45l3J2zNIxYmjDIzHXiEx3MWPgafTfBdEHiWUGEIrDYcHSngG3T5iT3KXuM0pQDlN20p5hiuX7A8248LetRMDAa/DasxpuqRPnAyqE2kUVJEa/RCNR0VBVX+OIktzQYt9gDgG2fV6ap3WTLHDYBlg2kE7XaDNHEMCBcfm8EtvOziXKFD0DasKKEQ5UfmEzjevPiB0Vm73LjB8eduOavu4hF2A9bCu/JCF/J2/VpKXJbDkDnTsHP9ZoW1Dm7kUFcwLJVLeJBtDBs7xz16iDbNPtja0f9CcdLHT9I7RpoCm4XK5dS7Yqyy+GRFhCzhoFtk3t69CBjGeYUDKqLn1YoKWRMKysrHwsK9vzrSgc6MdXOcMgnZaiPV71cqc+8/FfyLB+Tp/wAi4f3tZ/widGUs1rz7l3EIbzWjuK6KTzT3aOEPFFOIBoxspckQnBttHpBYb/kUkEl7nWg4kGUf9f0MH4eAfKWMDpQRaQ17UikXjkcTNjzbWEJOMK3F8tQYcv3u8K/PjTyTUdp6M0DcBN32DAnR1fiZF1HjxhtSJOQi9g9TuiPXDxMDeDO/6Nd6DAlEQPf50pRpXsKg03D56JfDRe6J75s0qv2dB+qWjTK3ljzvYCTSV6BfISjEt76cPt2EDt5YP3DHbaqMMtvKkB5fmlSyhcvbwfmVFj+6Tm/NKbvUOf+37Px7d3kjtuWkYy+uVbOm/siUYFbrNBuiglulN13PuSZgdjl9jLxVZtH6xdwsNlKuqPoUYbM2NFqnzohW5TOrSDMWXmIMC9GdmdxqRcb2/xzEcFFpAaEpr7Vc+ol5HL3GQPGJJ+lXrFRSsnsEWvs6/+PMPdJvCJ4vrDhKs/V5k8jsQQwJ0iHyZ1qts0GG/ELrjfH/4lgQIBqmG9zsHhx4u5YwTzJ47oLDcxCS+9atTpaExaiyHEMgQF2KchyUAN9+kdNnYzdmMFqrPpnkPkuxa33YPJs0gU7+6tGnnrn5Ln/KbeUJI3j8iLa7qKoo71hDWqi+/Rn9etFTisQ+WkPCdg7MwdPtWOl6WugBaMO2IBu2cZ/XzJamgBS4oDyNx0SbHHZqR/BtRyRmH4PFuhptMPN1KORLlgPdjCa2Pw1B59cYGNirgrr/4uBYD/2ltMOlyU4lFw0JQnsBF/44CgQ35asFa/A336X/uIeIm3+/8oZ8WT15hn3GTu34xd/Lzcs2OE9g5YgnJ/7SLhAvAq+qNZ6sih55CWTfZnbheWR3k9OzXiAuEGMkhB8HvoFaTRQhrVAPdi1uqe1NB64sS23GyFti5KKJNmEKOzaiiaL+sOCpSMtMI4DViYvQK+neH17WxnMfN0mKZ6Qt8Nv9reHWjagKEBat09rynwG167ubHGmhMqyResmORBB6mHs6bHQYhY9ev+4mGdXMV/etAtAATmbYjMu/Q6lG4hA9BlXwav8m38fcNOKyJMU1V90hqfR3ztvCPpwIAwlGXmMO3YbZVusQdreR8T+EwbEHm/LQwj6EWn6wf8rI4uQPmy81Xwz4sUGR4fbaUlEwsAxqLFUX2/SzccpIYJHbgWNH7EL4UlPQfB5ZuKmErs76G60UQjknxYHxAxyscMYKO5DNxTbWCApoNn1vvPdDOsbcXIVMyeTtcDT8y2pSY5QWNF05CtJaHhFyXn8etSn7Y2iYOvD+t5+84OvwsK/pr89UqqzCwTA8k8C7iC2nBYz3jNOaZraF+6qZ4TLjcvtizDfrb9TjRRgRR1vEwgIkiexc24LRgI9p3TCy1DR6J6+zVD4C0wJTNQGWgCYzmGTBOVFqSLRw98yd5nlgE1Iz6IhYqgNh55LC748OwNrjpIkr3b+JS4vNRxUo9NmRBK7ANzORCugIdD5+JW0XV+qDsoOZCCY0g0aUq9Pqs7mgsfmUxzXdt9pnXRBqFkFX3ar7PupD29xql3LXqvqsRz1jIoBCUNdxvcs8aZTuLAcEXRCg2JlK5UKBeuutoVARlHMeDICrxQYKbTWppR5jbFc2RlZ4kpLUzR2cXD3rE96NhGT55yToZBI0PY4fmoNiHLA5PyAvpdd7lpqzoXRMSl9iScsB2h6AT8k3sXLMH7Is5t1W0NCBnx2h7eNgZPlFTPD9iVMIRnaTQKhKByV9lSQPvI4K/RiTHyajfhJtC4ojdXUD6xPF/PH0/FKJnv5hnG/O3yIDjIAu2dM66TH2yjeaf8FErjWrpPQgmiq4/zzFvGxt4H5oNaPlh0uzFY9nBJqBPI5ieR0+7pYY0/rxiTeEtUew5UVGWM1qqIX9PdO9T/949H4bKy/b+HANlnvYHps6NaK+anUEt9BW8sr7/vt+KLS1mCKMUm39szikKJE/NQGLQT7N0qN71Tl9OpTftuIh0ifaQ8YHPBI2W+KV5KjKPJouhQn/nPFbBZZiDBXNhWctpqU+pquBUGD14JWw0k/V0BuQ6sS5+rmZlAXGBpjGAi9CrsVk+KCMlp62JykE3wmadEbgD6prmFdNiQIbJiLnsZJbBD+iUW2LZ8sTSkgoHrx4rLNH5Bx2wVqahOlPdTtn4lFje3DBH+AHMfWihvRS6hZ1TjeriDVjK/OA71EPRK0MGr4GLxxn8HAmXVJhxa1d5Fmbd6EfRV7FdgCqvYpNtM4SxA/kix3nI1KthTbwHrTkvY8VbuK7p0tUkLbV3s4sGH8tzvm7hxTEHvFawdOXQGYObAmXdd+UUQ9QzIF30s8RJhgM3NP4o0yoBDQ5lcGGTPybG3YRvRt9nmzA60v8HwRiUXzgBNy0XHUAMXLpXzCTTDvhUcHRFf6wo9zzOZSPStXTLYm8jxS7umsRLp4kXyUL12vJLSprq2CG0mdWsxY1B2yl3FQdIpdrV6zdWj1XG1vCfY5pdwRxOrGn99Dxylk95yV7O4MjDbRAs+aIG2q4084omXxkX+mQBxAci8iXhbbk2vS2ocYz4PdsPgT0MkNgRi3oKgqlgHBUZkwgjgo7v5eB74PvxKmy+bEZJxUa/PUaa76uCik9EjivV0X1Ca0logmWuxagnMETC05+hkNF673WasJCt/ZRjd91x21IoKkIqakemOxrQagPHiOE4dlz1CmSKf9w/P+kQUffY/DuCioKI6bKSbeRKjLZFtYdDdOy3oTN6qHEFAehI8ogeSBEl91JB+yjgXvS03ZBg7Jn9lR4mNgUYDHNy4CoQulBbjAPdtI21wfarJtlQ9dl2jtfgf4DZ97zr/VSmqrDkoWbkEx45RNfY8xhHBjxt+LOLghe9SP2Ge6nV85Zb5+7if9469tn2FpzLeVmr59hM/YPV1GlVgh2K3oBWr+oXiLKNHJK9RfAz6K2/hs4ezhMSqorEwr17jTRTjv7VCiEz+8WZaUOdGm4ON4yHk+0It+AjBsHUUFt1ExxT5TdcNh+ivOum2XNR51m8fPxgddIHgIZQ7I6JCoZcCZvWjQn7Wb2BRDGfZBJpRR7h1LJZVvn9WZ97i2PZcE4xUrkKcJhHuyFujIYDqk+q6dl8aFVWY/xLVaMt1ZKu0bhP7ymaeuhKmuuxIpUmNiJN0gv4yIWwdQMtlTGFx/4kP6PPHdpMUGdkWaUiiSfmsY6syrLiT9KqYEBxxpE2BFEppWXopdxoYj0XBL8rB7pU01K7ARifCsatVp+h60TUpQ4KE46H9Gfhz80AwnNWQTXoYPLwRMrJbJYtla0JJ96D2eNwf+iyF3wWRLhF+JfkSFt5QrpYg3MJSF+AN63HtT2QiTrVq9TCsAuHXgFt5YdihWwo/4d+552jiQxoLZhHB9F3E+yRNMz7mt/xq2n+n/p08lkFrWaN8fpOlhjJuWgAKQvV8jWN9oAZrHSt5XcIAjB4vF4UoCLg+65GCF/Bdq31k/NC49VVex3hXrcbh2bPquKFExuFzCV2N96I2hdK7lpPuZ/QeW45x4KLjC6EI9Htj8lCfRFnmlF/Z4XV/udLhFd5BGyLyYuc5O72qgz5nM9fG3s9zjxiB6Mm0kQpOWDpANVzYrF6tGD8Z2XaSqI1CKpzWQR00ZpjzId7wJXdRNkqKhOPk0ctSWrC4bTdGEKiEN1Rj7Azy4D942Z0w79hYgD7uk1CRkQmBnVBFKmnk/RvmGu5Kj49I83NfLOINEab9PSYY29fH7HU6wL28s0tyLc0mArc5qXnL1rNrTtfmLuh+JIHuZb5quygE8N68SqFsXbZgaDE5eUg8YC/bmiqif2eKmDe9VHj8vROHo4SNrJuwHLHlnTfjLLL8yPvJ7j49fiB7SDaNiK4KSbvjrhyFF37RPnkPHU9ux8Phm5tZuehuWS66lsixcxDE8ikcEYaZe+Oa4cksiuNl67suxgaio8kOrTO58jhTXxVGB3uBreMfOqN4pE22YI6ycQ5mcjgOKY+elFxZbwSq+bXpq507a9qSt0wkHNvUS8n3uUeqraX8bWeUqkpZKs35uMd0yJd92k7b9pB9P1Do3guU/eNa6Xil+/KzShESUM7+PMAQyQ9tT2rrxs3q3rkimxSOZS1PE/FYf7aPUHv5Iq3SATVaGyiFtr33ZOq5BcvT1QV9q7Q4+chXbTvcxTYtLyxFKKACGNczddE1KxkH+6TduEQDCDxdnMw5RnY2g/fuCyHTuh5dlw9QWRkU2qlOphxzZDwGPO/RRKXOrRnuMJlveScPJiqOsRIuNSOaxky+NC0loCy9nDAXz2g8tY/2hvoH/fVkG9eE+4IQ+z5kXhBaiZd6vp67Xs8Jad+i2t46IWwK/+80rbAYtwbu3/6LG32794t7oFaTLiZc5EsjUigzL+jr8l0hWh6lpfXGhs33JJbUqRvlZG/grSuiI3dTjNromcVd65bdsxdZmNRs9+eZ2637FxCHcjgsfPG8Xttb5KmSOODdgHTvhlNBuJlsSurg3/R7t8NwBAhf7R/wLNm0ITjtpANsDpPbXbDj7DgfgBS+eEQOkmEt7eYbnNrYfLzeuM5XmYBks3tY8+4HVG2nV5dCO4iAyIXUYEbEv21paTyhM5BiB5VrIJw3y4hPrVQoIN5eUJc/4/J+RgMXrBSYllitLiQzmL8PzC9yCahKPDlNTcxOye54xEgeq3XOFQFsr9CrAhGLj0loGtBHJFEx9NkxlEAMD6/lXSu0VtW8ZHXkWwQNW4u5KdBZn3fOVpjaHYTmIk0m82v0FS59ouiZtWbeFvFFr3X3+BRuwBuGUJ7/os+cTlX1ZX1wnieUubIfVzYFnuSmuiAdIrxgbU6ZW6wdrkjS3iqS/B0ytmoV5W0Kb4VEKiJs6wKjq2wybwvCw8llZ+imOSR2DjZWAF2Divxg7sGoPUE0pPn71MMdI/AUQNE0ds5dHaowdfX3+m3IXpxONuREFPmGOi8LBlPBYXrwFvuZbbLT4lUabDssJv6xaYRzNkQiIOBiav6em8PHngqDOUj+lz6PvbMRdBn8GbtlE8MTe1si6nju+EwvOdKamrOIiELFBWPSWHU235kb67Q+DN34mcnbA07zxVlwkGQAbCfN6KBKIvevgWoqV/mNgkNLLbiOMcO/R5Lo44JZLsm6llwZXt2LcTZefRiMxHGbwrZHgJYGLxvGVZpe/nDvoE5uxgNGCRsnVy8xbjeiPBSkE6lS9BCqkoveDldwNe6UMmlywvoHxQJ0S/sFR0efRzAFR9WjSG07+lMl2BnkjxWLvCn6j/xMl/lASrvQkZjwqrKLHq4z9uQhhDddoeTXnDGMB1w2NGS18czgAtQ8GT3xquY8hllyV4+NWI/wClUVYnD9Z6WCGCAmGO9dXlh7w7Iu4/tjvvFLZb0wtCl0CGNE4cKvgk8qyW1MghzqIvt4DT8X96J/6MxxL8YheSJQAmzanWTMMNtqpwaCYkFxQbdqd3OzJrerUUL82oS0HgdHe77CCoQ0UBZLeTx+yMBQ+/SKuNlHbPrB+v2DCasIvSjVdavInCPTVKUUrDTykK03k4+r4iR1/pEgqTaarHCAMwpVAQ2Es1ktTa7V4peBIPRuW7DewSvAj9JgZpdzkBFbAQUGBd7R8KvAjNl/miWQOYiNKi+4YNoiXCw9Dc8oUyvvbQphksyJ69mVu/6DhEmuD7O3DIrvEgEn66ywEKZOWX8gnsck9EuaRy6lF20XZX5z2sMCt8hljJ7Iye9gzxrOEDZaem3AAC5AWkvtrpC1ffQxXfNNS621slIvDFvdAqwF6K+UhWf27fT6nyY2HfkOlGw8zWTwI/vnZ/wLoA6WoCYQWgNWNphCKzvJA2apjkZKEvEQs9CPk3WacxsAuyvbQZwDu5s8SthxSaDmF4idQ2jqilUST6YLDdPThBNHUQdG2RngwX4RnU6Sd7ZLfatSR90htBnv3p7xVpkDo1/eQc28Xcw0kzk1CzYbNbRW8jhw0KbTPoyhLaSnsXLUY4yrMzqpV4oTLiLEz85eapg6aCffPnJoX6tWxSCsW3z0VnB4zpYpO4Tvy6+IZQ0BQebx/nxYxtP/6B5E5NIJGErHTHZqyB6ntHnZlfaz+1ltOj05M8EdaEN50YJxuEL8TZnElAN3T1bKSDorWt0LA3SmalKXCLcE1nOZm+SDSiEHM8JbDbSl56N0jkNN4NL/JGt7aZrLJbyNKvgRQC3pC0E34mobZF/lIgye9I/V1N6Qdw5m4t8rP4s4h2xDfDIcK+uY+bZLPtQNGheuThV/IPwnfS20z5AN7DkF7lgum797isShIr4FJaokNEvhKuXGz7kBiPkfXRXi02Wh5rC4XymXMtEhy6hvrak3SEePtPm21V5YhnEPumOxloyEyU6QJfpbqspizidFxjMuHi29oqC88wx/CpqwhYO447yP/XQQItng/+nolAG92Sv9gnUT7/r2C7Mm3Hd3NhfH6A97/mZolPCj+KEGv2as8u5rrmefK9FMIROxsK96aUFHPxDXKYCkeCIWrKCiOy2kXmWvIcyz4DjBwnOCBdNNX/MrEHJEP0IIzwN/JvYYqvma1xj6ZnPUUPD8t1Icj8Nr/473vapmfpIz2wOm67SDoMEX7n/8KWVJIRuOJvkfMXSdNcLsfcAJooBcssaDzovzNEv9vYFFc/QRTSz94V7/hvxfuWL0jACZHFx7BigQ979HS+bjZDDwmSeqPgK06MU0T9LcgeJHu+xdTFn/JU+A7KgtglQylesbjSECaceCkfqWFfvCUExViX4K4/SxcV7YW8/6Ae+c/sPtWePvf15KUR5s1pCEcYpGAQC8UK1L6pam9ObyWxt/caxOfzubvJTb/nta7IAXRB+DdORclsfxtO6bavNqcbCq9nO39Zo8FWk4plerSbBuPoE9Zj+wTvuOrjxrOYg4/h2K0hpq465s9B7f9+E0xXyKA0CrCL1aYq05InBNamz8GOZkoN4Tz+gSe2DFI15qk+zRFv8JBbdQUvDShlzXpd7/c9MrhF/Ejoi04UX0HNDodffDWrVBlbZu4xtecHGEU/NZxPzFhI+zPatQOBgpDua6O79f52Q8qeJmXyY1O+EGX5UWkvMeHy/DuJCp5On5su1C7qDYav8FPLXbH+4Go45oimXPE+I0FtDjcPOQKIsLQH8mCDyHi+Uszxvj/3NDlycDgttIoe203gizdnC/JtKmUJbSr7Fq66jMMWkK4mUc788tNW8kMjrS5xVTVyYqHvtByzhyEBoWj9dxqOPxBtF+h+WLtLecCOqzA73OiTeVmd8l18LYqj2byLy4wS3nNVyFftpbYfRcgF4DTkCMz3/bSZm2Hsjb/kMY421Mm2rLOffhQKsKr4fOoVvXFJxrnSEDtjJiQ28SNbkuQUPG929kFXxyqC0ZIzZLgFdmKOalIBeLqVp3KzwRQ3IlWKunMPqb+TZCSPRP9cdrV4QvA2NHVItgUflSs8GTYkFMNw0zOVVEHavb8c5dgK0pyoXeqwfoaRVfM6oHn/BE3N8aTzuS7V4mvs6sOnjp1nTETfepin/98PJr5sLIWLSS73ylCcYktZU+48MhVs6T7M5FD77jHMtvOw+zmLx+cgS8K5FvULOEF4ek2XTnUx+Fj6nAA7jCvCxwoUfwhR4/lHBSIrTVzVlupQIWJ2vpiraw+Ve2dNMVcBIwqsWhUqRhOklVTrb5OJLi87crB7BkvkcB0ZlrNqN3Bs2/mV9JDqJQePSy5GahQ5C8m6Qu8MVC9KuG2SIdOd+TIt67NIiEhe2h3gt5QvtpXEcjyOh+8MDyleZd1HLSNaJC2BzmvWq0cH3JP63un1iVutOteuuVWVmK7CwsQLInGVaEMqvhZT7Ofv/+AGqRPnqFZoanV6BLpudeiZ2R9lZlV8jkFtXbbkPw3YWTLY5v2sr4VUaBwRHUH6xKILaD4Um1KPkMUT7EqzJi4LCqfnjKM+GWh6Vyvqwsv9QD4PF+626K0yOhrMIgJlmFpMkzK0u/nRIa3BmH3Y8v7UyaHtFj1Z2gQMMnZ/0wxtCUJ1TIw46FaV/N0/DHgqi9qALrHfwJm0GKvLzDSQDTiNKL9BNo9i4rg8MKYatL+T358MiRHPXf8t+QmCymTuM46YXK9nW7CCQE8IUobflIj67CC4J1cUTa8r/W2cRvniCj3pomv1l8XMzqMWDA6vXd0O4MddWcusUJZa3GjzWQ5CAoqR+zPDpIEQnivsLWZ4Qd/Qged+6dQZo0CxTbvSWpiuF5aTuBtMINB/DD4cm0H2HZkwygk0Frn2awpdGqJkHRmg3+pJHbiIfjB+HZT8xu4tMy/Ly2ycyctzVh7C/Epr+SsSBdjX9RIuwfwRqG48A2+sCTdKIqAHWl31XLryJqzTPejF2G31fXhiR8SbNWPmQ5FOJhPaeScH/g4ftBcIa+J7ngFfxjGCYJmR7gDVmtQa3Tz2C8wuRZbPSuIrT+PpeaFI3/oeTexglkYzAM6+TwmpOx5gpwl1YryYb2HcaZhrc7tjyTgjOMgbIIsQpUllH31I5QsjKYWkwzRrGxjiQgQkYVwL94lHqO7DPX0zyH1ldkAFuNshkOcj4ovE7NmAR1s70kgJs6Y97nrWg82sluUs+JBNO8URvVMWt338VtVAnB71MFgpGdSIbp//m6ITOveq4azTQANfAAHHk8lcuONMdAvr5Anbv7yHjNav2TrFlbSIibnEpD9/IPmnvZUl/4kcsjd9pe66YuMpdXOog4dC8N3NfMgWAF5tn32atUjIw5VRsB7Bj3C0f9AGBUKXfxG4AsPDeYoiCyND11AGMsV5b31nq3NGyviAJhVCTOrIf7oX52PglDqireGzYdmVgVMQxvYAoob+0qMJbMG6TyvQLFdSpU9MhhjNtVY2XPyjpvqiXYJ96OWYMDmx2kSHDPyWScZ5K+Q9GCFJQ7mQalbESNTh08MnJLxXG0Ybt89OP6wRqrc6BuiG5/bZYLHtK5E7NiXvvVMXR/mGxtIeNXDABtjR8scoQhdU0tnF+u6ktIW6JfKclcKzufsXBL4PPnMzeJ2Lbus+JgowKE0gj6J63VAwBB+8C0A6w7z9mefWgUFkaen2k/RHhwLdbjSl4ixLqw8L6hZ7w5KaC3dD0y0ljEIaa1x09FI5U3nB34UvOgfluEtj122KwD1GC63gFpdWE0FizbOt6s8RSh0RIFHli+/VxnnJyYFLKo+Lr5Wzs6EDhbZZdr2782Syih7/ZZ5vMBJ5VCC9oOJdVJMnrSLdM5BiAHia8MbBC+PR+6trHE8+7w+7BaFOM4mjUEyI2sdg0Z0g/Gfp4o9sBTbpQN7TeEzyjP/dOJZlpQT4cpR7S86uaFJYvcsQ21CUEHFTU9rMRBiPjnMHSvwQjj7D324y2olA2lPOxeunJHRZDvCJAalf11AmK/Ty7pQb7aIE/ltvEWbpXdcZAdHGbrpjxEjnDKG/rKU7mX8bbnQcA90DKTp/5vnp1G/EU+wVV2nNcd5RGWlJNw/JDA+AnxLlWEOc3CHpiUZbNaY+58PcyMv13tLcSA3BhrgAW9sWZ0yqcf0/UhOYnX/JrNMq4exgFxzfu7Yx1bkpBq4WcQVKHHrbKvS9Fn2tkBoBaZdm8AETa+8jRPc8psAqdAQ1OKnzSzP1qBurwIMn6dCvfu8o/0ROoB4VsoRX3+/HXUGdxK92icNVpSwkJ4kQ7wNnGSNASPmX12B8fzyTQC2OlhekrkT9sv898Vy+C+WV4GDW6j2oxYnsg1cqtjAuB8ZcuzfMMaHT0IYCcJC09JniIgypzd9GyF+L2XNuT5wpWIymPcK7Z201YgfPP7mQmWCg4lK5TH19vs/Etgdb7hjie3DYiCijVptnJnQLY+gqgG2jC925QnDizd+YssvoTl3NcRJEaboyKOMSa8LllVWYm1Qwb/82YE1CaXrHLD3yhZP4QgZn3tlz57yEyc4GJJRkLOxJNvsZtxrsTfVYgYAIDT4VOaZwsMPcpjkGxLkjTK6toGRCdjdUEFk398a4dg0X3rbPd6pN5onn/6gE1JFHjr7ymvzf54/06rrnvVIt0RETDAgI2Odtw+hOUaO5BPmD1P4Wu4+UN4nw2hXuQQpiN1PfLyH17fTR7OaWMrWQWf29bgv6RrGg/UKCXuNYja9JpL8+ZYi8TunkSS8YqSQqiyqW158hyjEfGob2yWYN/e8zi1HMkz9HUhFh0sF+daYg0adQ7aW9uIHx4ulH0SLOhpS3OJW7+nd0vg9eI15eiQARUmAH5iwnyIket9W6rcBj+NeWGbTKg13EB9R0U/twlRMlPaRiYeYNiZ3SouHGueyi608ZCI6rIS0pzmDxZuHweSygejqqcEDvSUNI1zAd6v0T6fM912rhgJItW7WJDZuc+EOeycx06/c1Dxch8F0GEjDI+S9BefZdTup47VEHoxHt+N1CBxkygPVs8wmenVTYb9ZCwVAmzHHIlhVMmLPa/pTslieRmZMbVWnqEQW8+5wj+ZnAEsjFUzE6ktUzceb2gXLCgwL+jxXutpBmG1I9rX4gkP9xT/97WWlLH6r588jV510iFhmUk/gmFfLOofa4cUKwoIEayOOQ8k6spRVxMFOy2CvBjmFhgVbwRuSlpxE1/ibdnBZZ4/kzPGnp4aNPLDlRFBVKhL7MRP3axQuhcTXU=">
            <a:extLst>
              <a:ext uri="{FF2B5EF4-FFF2-40B4-BE49-F238E27FC236}">
                <a16:creationId xmlns:a16="http://schemas.microsoft.com/office/drawing/2014/main" id="{DDA18443-674A-4C31-9C2A-38350319321C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488394" y="2304749"/>
            <a:ext cx="4464513" cy="3637035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BB65D95-606B-4DBB-8A20-3623DDA96DCC}"/>
              </a:ext>
            </a:extLst>
          </p:cNvPr>
          <p:cNvSpPr/>
          <p:nvPr/>
        </p:nvSpPr>
        <p:spPr bwMode="gray">
          <a:xfrm>
            <a:off x="330198" y="1791138"/>
            <a:ext cx="4887526" cy="2200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i="1">
                <a:solidFill>
                  <a:schemeClr val="bg2"/>
                </a:solidFill>
              </a:rPr>
              <a:t>Percentage of reviews mentioning criteria (N=3.1K)</a:t>
            </a:r>
          </a:p>
        </p:txBody>
      </p:sp>
      <p:grpSp>
        <p:nvGrpSpPr>
          <p:cNvPr id="77" name="btfpColumnHeaderBox981258">
            <a:extLst>
              <a:ext uri="{FF2B5EF4-FFF2-40B4-BE49-F238E27FC236}">
                <a16:creationId xmlns:a16="http://schemas.microsoft.com/office/drawing/2014/main" id="{A02F884B-800C-4579-A45B-F2C6BB1E3FDF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5714915" y="1453952"/>
            <a:ext cx="6136725" cy="257441"/>
            <a:chOff x="330200" y="862118"/>
            <a:chExt cx="3483504" cy="257441"/>
          </a:xfrm>
        </p:grpSpPr>
        <p:sp>
          <p:nvSpPr>
            <p:cNvPr id="78" name="btfpColumnHeaderBoxText981258">
              <a:extLst>
                <a:ext uri="{FF2B5EF4-FFF2-40B4-BE49-F238E27FC236}">
                  <a16:creationId xmlns:a16="http://schemas.microsoft.com/office/drawing/2014/main" id="{36876A26-6D7A-4B87-9BDF-72744EB7AC94}"/>
                </a:ext>
              </a:extLst>
            </p:cNvPr>
            <p:cNvSpPr txBox="1"/>
            <p:nvPr/>
          </p:nvSpPr>
          <p:spPr bwMode="gray">
            <a:xfrm>
              <a:off x="330200" y="862118"/>
              <a:ext cx="3483504" cy="2549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Target net positive on 5/7 of the themes; negatively rated on reliability and pricing</a:t>
              </a:r>
            </a:p>
          </p:txBody>
        </p:sp>
        <p:cxnSp>
          <p:nvCxnSpPr>
            <p:cNvPr id="79" name="btfpColumnHeaderBoxLine981258">
              <a:extLst>
                <a:ext uri="{FF2B5EF4-FFF2-40B4-BE49-F238E27FC236}">
                  <a16:creationId xmlns:a16="http://schemas.microsoft.com/office/drawing/2014/main" id="{8567968D-2833-4095-A9AF-F30DF498BC5A}"/>
                </a:ext>
              </a:extLst>
            </p:cNvPr>
            <p:cNvCxnSpPr/>
            <p:nvPr/>
          </p:nvCxnSpPr>
          <p:spPr bwMode="gray">
            <a:xfrm>
              <a:off x="330200" y="1119559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C5A26787-E4AC-40F3-A988-81AA7675117F}"/>
              </a:ext>
            </a:extLst>
          </p:cNvPr>
          <p:cNvSpPr/>
          <p:nvPr/>
        </p:nvSpPr>
        <p:spPr bwMode="gray">
          <a:xfrm>
            <a:off x="5714916" y="1791138"/>
            <a:ext cx="6136724" cy="2200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i="1">
                <a:solidFill>
                  <a:schemeClr val="bg2"/>
                </a:solidFill>
              </a:rPr>
              <a:t>Net </a:t>
            </a:r>
            <a:r>
              <a:rPr lang="fr-FR" sz="1000" i="1">
                <a:solidFill>
                  <a:schemeClr val="bg2"/>
                </a:solidFill>
              </a:rPr>
              <a:t>sentiment [positive mentions% - negative mentions%]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F4AB67D-D4ED-DCD9-E5A9-DE5EB360236B}"/>
              </a:ext>
            </a:extLst>
          </p:cNvPr>
          <p:cNvSpPr txBox="1"/>
          <p:nvPr/>
        </p:nvSpPr>
        <p:spPr bwMode="gray">
          <a:xfrm>
            <a:off x="11534159" y="2304380"/>
            <a:ext cx="365503" cy="2158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>
                <a:solidFill>
                  <a:srgbClr val="507867"/>
                </a:solidFill>
              </a:rPr>
              <a:t>100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AC9E044-9C4B-D334-F217-C51656AFA0FF}"/>
              </a:ext>
            </a:extLst>
          </p:cNvPr>
          <p:cNvSpPr txBox="1"/>
          <p:nvPr/>
        </p:nvSpPr>
        <p:spPr bwMode="gray">
          <a:xfrm>
            <a:off x="10882837" y="2304380"/>
            <a:ext cx="305566" cy="2158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>
                <a:solidFill>
                  <a:srgbClr val="507867"/>
                </a:solidFill>
              </a:rPr>
              <a:t>75%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5638116-F1BD-81E3-06BC-EE8023EBFA00}"/>
              </a:ext>
            </a:extLst>
          </p:cNvPr>
          <p:cNvSpPr txBox="1"/>
          <p:nvPr/>
        </p:nvSpPr>
        <p:spPr bwMode="gray">
          <a:xfrm>
            <a:off x="8928874" y="2304380"/>
            <a:ext cx="305566" cy="2158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>
                <a:solidFill>
                  <a:srgbClr val="C6AA3D"/>
                </a:solidFill>
              </a:rPr>
              <a:t>0%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45BC442-2CE0-345B-C53E-E3D38ED90656}"/>
              </a:ext>
            </a:extLst>
          </p:cNvPr>
          <p:cNvSpPr txBox="1"/>
          <p:nvPr/>
        </p:nvSpPr>
        <p:spPr bwMode="gray">
          <a:xfrm>
            <a:off x="9580195" y="2304380"/>
            <a:ext cx="305566" cy="2158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>
                <a:solidFill>
                  <a:srgbClr val="507867"/>
                </a:solidFill>
              </a:rPr>
              <a:t>25%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36643F4-26A7-ACF7-58BF-C1C0CBBE6983}"/>
              </a:ext>
            </a:extLst>
          </p:cNvPr>
          <p:cNvSpPr txBox="1"/>
          <p:nvPr/>
        </p:nvSpPr>
        <p:spPr bwMode="gray">
          <a:xfrm>
            <a:off x="10231516" y="2304380"/>
            <a:ext cx="305566" cy="2158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>
                <a:solidFill>
                  <a:srgbClr val="507867"/>
                </a:solidFill>
              </a:rPr>
              <a:t>50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DD1D829-81DA-A0D5-F78F-1C9431A55DB0}"/>
              </a:ext>
            </a:extLst>
          </p:cNvPr>
          <p:cNvSpPr txBox="1"/>
          <p:nvPr/>
        </p:nvSpPr>
        <p:spPr bwMode="gray">
          <a:xfrm>
            <a:off x="189096" y="2246610"/>
            <a:ext cx="1413673" cy="226591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000" b="1" i="1">
                <a:solidFill>
                  <a:schemeClr val="tx1">
                    <a:lumMod val="50000"/>
                    <a:lumOff val="50000"/>
                  </a:schemeClr>
                </a:solidFill>
              </a:rPr>
              <a:t>Themes / drivers</a:t>
            </a:r>
          </a:p>
        </p:txBody>
      </p:sp>
      <p:grpSp>
        <p:nvGrpSpPr>
          <p:cNvPr id="113" name="btfpStatusSticker722829">
            <a:extLst>
              <a:ext uri="{FF2B5EF4-FFF2-40B4-BE49-F238E27FC236}">
                <a16:creationId xmlns:a16="http://schemas.microsoft.com/office/drawing/2014/main" id="{FD2EDA6B-10AE-42BA-8330-0D52E0AA4F3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111" name="btfpStatusStickerText722829">
              <a:extLst>
                <a:ext uri="{FF2B5EF4-FFF2-40B4-BE49-F238E27FC236}">
                  <a16:creationId xmlns:a16="http://schemas.microsoft.com/office/drawing/2014/main" id="{C4C71D27-05D5-0353-E3B6-287A91728BC9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112" name="btfpStatusStickerLine722829">
              <a:extLst>
                <a:ext uri="{FF2B5EF4-FFF2-40B4-BE49-F238E27FC236}">
                  <a16:creationId xmlns:a16="http://schemas.microsoft.com/office/drawing/2014/main" id="{21C1E516-FC38-5E11-44D1-E9B9AEDA578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918FC53-8EE9-29A6-8E14-DAA73C5A3B4B}"/>
              </a:ext>
            </a:extLst>
          </p:cNvPr>
          <p:cNvCxnSpPr>
            <a:cxnSpLocks/>
          </p:cNvCxnSpPr>
          <p:nvPr/>
        </p:nvCxnSpPr>
        <p:spPr bwMode="gray">
          <a:xfrm>
            <a:off x="5443984" y="2505910"/>
            <a:ext cx="637843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btfpRunningAgenda2Level875286">
            <a:extLst>
              <a:ext uri="{FF2B5EF4-FFF2-40B4-BE49-F238E27FC236}">
                <a16:creationId xmlns:a16="http://schemas.microsoft.com/office/drawing/2014/main" id="{A58086D2-4CFC-E137-611E-D8D02B5EF39B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0" y="944429"/>
            <a:ext cx="5384737" cy="257442"/>
            <a:chOff x="0" y="876300"/>
            <a:chExt cx="5384737" cy="257442"/>
          </a:xfrm>
        </p:grpSpPr>
        <p:sp>
          <p:nvSpPr>
            <p:cNvPr id="26" name="btfpRunningAgenda2LevelBarLeft875286">
              <a:extLst>
                <a:ext uri="{FF2B5EF4-FFF2-40B4-BE49-F238E27FC236}">
                  <a16:creationId xmlns:a16="http://schemas.microsoft.com/office/drawing/2014/main" id="{A5B1DF40-B0DB-13D8-9316-68514CC7E633}"/>
                </a:ext>
              </a:extLst>
            </p:cNvPr>
            <p:cNvSpPr/>
            <p:nvPr/>
          </p:nvSpPr>
          <p:spPr bwMode="gray">
            <a:xfrm>
              <a:off x="0" y="876300"/>
              <a:ext cx="3650257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431702 w 1431702"/>
                <a:gd name="connsiteY0" fmla="*/ 0 h 257442"/>
                <a:gd name="connsiteX1" fmla="*/ 1224695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606878 w 1606878"/>
                <a:gd name="connsiteY0" fmla="*/ 0 h 257442"/>
                <a:gd name="connsiteX1" fmla="*/ 1376981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792827 w 1792827"/>
                <a:gd name="connsiteY0" fmla="*/ 0 h 257442"/>
                <a:gd name="connsiteX1" fmla="*/ 1552157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953127 w 1953127"/>
                <a:gd name="connsiteY0" fmla="*/ 0 h 257442"/>
                <a:gd name="connsiteX1" fmla="*/ 17381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2121442 w 2121442"/>
                <a:gd name="connsiteY0" fmla="*/ 0 h 257442"/>
                <a:gd name="connsiteX1" fmla="*/ 1898406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0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222432 w 2222432"/>
                <a:gd name="connsiteY0" fmla="*/ 0 h 257442"/>
                <a:gd name="connsiteX1" fmla="*/ 2066721 w 2222432"/>
                <a:gd name="connsiteY1" fmla="*/ 257442 h 257442"/>
                <a:gd name="connsiteX2" fmla="*/ 0 w 2222432"/>
                <a:gd name="connsiteY2" fmla="*/ 257442 h 257442"/>
                <a:gd name="connsiteX3" fmla="*/ 1 w 2222432"/>
                <a:gd name="connsiteY3" fmla="*/ 0 h 257442"/>
                <a:gd name="connsiteX0" fmla="*/ 2222432 w 2222432"/>
                <a:gd name="connsiteY0" fmla="*/ 0 h 257442"/>
                <a:gd name="connsiteX1" fmla="*/ 2167710 w 2222432"/>
                <a:gd name="connsiteY1" fmla="*/ 257442 h 257442"/>
                <a:gd name="connsiteX2" fmla="*/ 0 w 2222432"/>
                <a:gd name="connsiteY2" fmla="*/ 257442 h 257442"/>
                <a:gd name="connsiteX3" fmla="*/ 1 w 2222432"/>
                <a:gd name="connsiteY3" fmla="*/ 0 h 257442"/>
                <a:gd name="connsiteX0" fmla="*/ 2222432 w 2222432"/>
                <a:gd name="connsiteY0" fmla="*/ 0 h 257442"/>
                <a:gd name="connsiteX1" fmla="*/ 2167710 w 2222432"/>
                <a:gd name="connsiteY1" fmla="*/ 257442 h 257442"/>
                <a:gd name="connsiteX2" fmla="*/ 0 w 2222432"/>
                <a:gd name="connsiteY2" fmla="*/ 257442 h 257442"/>
                <a:gd name="connsiteX3" fmla="*/ 1 w 2222432"/>
                <a:gd name="connsiteY3" fmla="*/ 0 h 257442"/>
                <a:gd name="connsiteX0" fmla="*/ 2222432 w 2222432"/>
                <a:gd name="connsiteY0" fmla="*/ 0 h 257442"/>
                <a:gd name="connsiteX1" fmla="*/ 2167710 w 2222432"/>
                <a:gd name="connsiteY1" fmla="*/ 257442 h 257442"/>
                <a:gd name="connsiteX2" fmla="*/ 0 w 2222432"/>
                <a:gd name="connsiteY2" fmla="*/ 257442 h 257442"/>
                <a:gd name="connsiteX3" fmla="*/ 0 w 2222432"/>
                <a:gd name="connsiteY3" fmla="*/ 0 h 257442"/>
                <a:gd name="connsiteX0" fmla="*/ 2382732 w 2382732"/>
                <a:gd name="connsiteY0" fmla="*/ 0 h 257442"/>
                <a:gd name="connsiteX1" fmla="*/ 2167710 w 2382732"/>
                <a:gd name="connsiteY1" fmla="*/ 257442 h 257442"/>
                <a:gd name="connsiteX2" fmla="*/ 0 w 2382732"/>
                <a:gd name="connsiteY2" fmla="*/ 257442 h 257442"/>
                <a:gd name="connsiteX3" fmla="*/ 0 w 2382732"/>
                <a:gd name="connsiteY3" fmla="*/ 0 h 257442"/>
                <a:gd name="connsiteX0" fmla="*/ 2382732 w 2382732"/>
                <a:gd name="connsiteY0" fmla="*/ 0 h 257442"/>
                <a:gd name="connsiteX1" fmla="*/ 2328011 w 2382732"/>
                <a:gd name="connsiteY1" fmla="*/ 257442 h 257442"/>
                <a:gd name="connsiteX2" fmla="*/ 0 w 2382732"/>
                <a:gd name="connsiteY2" fmla="*/ 257442 h 257442"/>
                <a:gd name="connsiteX3" fmla="*/ 0 w 2382732"/>
                <a:gd name="connsiteY3" fmla="*/ 0 h 257442"/>
                <a:gd name="connsiteX0" fmla="*/ 2382732 w 2382732"/>
                <a:gd name="connsiteY0" fmla="*/ 0 h 257442"/>
                <a:gd name="connsiteX1" fmla="*/ 2328011 w 2382732"/>
                <a:gd name="connsiteY1" fmla="*/ 257442 h 257442"/>
                <a:gd name="connsiteX2" fmla="*/ 0 w 2382732"/>
                <a:gd name="connsiteY2" fmla="*/ 257442 h 257442"/>
                <a:gd name="connsiteX3" fmla="*/ 0 w 2382732"/>
                <a:gd name="connsiteY3" fmla="*/ 0 h 257442"/>
                <a:gd name="connsiteX0" fmla="*/ 2382732 w 2382732"/>
                <a:gd name="connsiteY0" fmla="*/ 0 h 257442"/>
                <a:gd name="connsiteX1" fmla="*/ 2328011 w 2382732"/>
                <a:gd name="connsiteY1" fmla="*/ 257442 h 257442"/>
                <a:gd name="connsiteX2" fmla="*/ 0 w 2382732"/>
                <a:gd name="connsiteY2" fmla="*/ 257442 h 257442"/>
                <a:gd name="connsiteX3" fmla="*/ 0 w 2382732"/>
                <a:gd name="connsiteY3" fmla="*/ 0 h 257442"/>
                <a:gd name="connsiteX0" fmla="*/ 2543032 w 2543032"/>
                <a:gd name="connsiteY0" fmla="*/ 0 h 257442"/>
                <a:gd name="connsiteX1" fmla="*/ 2328011 w 2543032"/>
                <a:gd name="connsiteY1" fmla="*/ 257442 h 257442"/>
                <a:gd name="connsiteX2" fmla="*/ 0 w 2543032"/>
                <a:gd name="connsiteY2" fmla="*/ 257442 h 257442"/>
                <a:gd name="connsiteX3" fmla="*/ 0 w 2543032"/>
                <a:gd name="connsiteY3" fmla="*/ 0 h 257442"/>
                <a:gd name="connsiteX0" fmla="*/ 2543032 w 2543032"/>
                <a:gd name="connsiteY0" fmla="*/ 0 h 257442"/>
                <a:gd name="connsiteX1" fmla="*/ 2488311 w 2543032"/>
                <a:gd name="connsiteY1" fmla="*/ 257442 h 257442"/>
                <a:gd name="connsiteX2" fmla="*/ 0 w 2543032"/>
                <a:gd name="connsiteY2" fmla="*/ 257442 h 257442"/>
                <a:gd name="connsiteX3" fmla="*/ 0 w 2543032"/>
                <a:gd name="connsiteY3" fmla="*/ 0 h 257442"/>
                <a:gd name="connsiteX0" fmla="*/ 2543032 w 2543032"/>
                <a:gd name="connsiteY0" fmla="*/ 0 h 257442"/>
                <a:gd name="connsiteX1" fmla="*/ 2488311 w 2543032"/>
                <a:gd name="connsiteY1" fmla="*/ 257442 h 257442"/>
                <a:gd name="connsiteX2" fmla="*/ 0 w 2543032"/>
                <a:gd name="connsiteY2" fmla="*/ 257442 h 257442"/>
                <a:gd name="connsiteX3" fmla="*/ 0 w 2543032"/>
                <a:gd name="connsiteY3" fmla="*/ 0 h 257442"/>
                <a:gd name="connsiteX0" fmla="*/ 2543032 w 2543032"/>
                <a:gd name="connsiteY0" fmla="*/ 0 h 257442"/>
                <a:gd name="connsiteX1" fmla="*/ 2488311 w 2543032"/>
                <a:gd name="connsiteY1" fmla="*/ 257442 h 257442"/>
                <a:gd name="connsiteX2" fmla="*/ 0 w 2543032"/>
                <a:gd name="connsiteY2" fmla="*/ 257442 h 257442"/>
                <a:gd name="connsiteX3" fmla="*/ 0 w 2543032"/>
                <a:gd name="connsiteY3" fmla="*/ 0 h 257442"/>
                <a:gd name="connsiteX0" fmla="*/ 2711347 w 2711347"/>
                <a:gd name="connsiteY0" fmla="*/ 0 h 257442"/>
                <a:gd name="connsiteX1" fmla="*/ 2488311 w 2711347"/>
                <a:gd name="connsiteY1" fmla="*/ 257442 h 257442"/>
                <a:gd name="connsiteX2" fmla="*/ 0 w 2711347"/>
                <a:gd name="connsiteY2" fmla="*/ 257442 h 257442"/>
                <a:gd name="connsiteX3" fmla="*/ 0 w 2711347"/>
                <a:gd name="connsiteY3" fmla="*/ 0 h 257442"/>
                <a:gd name="connsiteX0" fmla="*/ 2711347 w 2711347"/>
                <a:gd name="connsiteY0" fmla="*/ 0 h 257442"/>
                <a:gd name="connsiteX1" fmla="*/ 2656626 w 2711347"/>
                <a:gd name="connsiteY1" fmla="*/ 257442 h 257442"/>
                <a:gd name="connsiteX2" fmla="*/ 0 w 2711347"/>
                <a:gd name="connsiteY2" fmla="*/ 257442 h 257442"/>
                <a:gd name="connsiteX3" fmla="*/ 0 w 2711347"/>
                <a:gd name="connsiteY3" fmla="*/ 0 h 257442"/>
                <a:gd name="connsiteX0" fmla="*/ 2711347 w 2711347"/>
                <a:gd name="connsiteY0" fmla="*/ 0 h 257442"/>
                <a:gd name="connsiteX1" fmla="*/ 2656626 w 2711347"/>
                <a:gd name="connsiteY1" fmla="*/ 257442 h 257442"/>
                <a:gd name="connsiteX2" fmla="*/ 0 w 2711347"/>
                <a:gd name="connsiteY2" fmla="*/ 257442 h 257442"/>
                <a:gd name="connsiteX3" fmla="*/ 0 w 2711347"/>
                <a:gd name="connsiteY3" fmla="*/ 0 h 257442"/>
                <a:gd name="connsiteX0" fmla="*/ 2711347 w 2711347"/>
                <a:gd name="connsiteY0" fmla="*/ 0 h 257442"/>
                <a:gd name="connsiteX1" fmla="*/ 2656626 w 2711347"/>
                <a:gd name="connsiteY1" fmla="*/ 257442 h 257442"/>
                <a:gd name="connsiteX2" fmla="*/ 0 w 2711347"/>
                <a:gd name="connsiteY2" fmla="*/ 257442 h 257442"/>
                <a:gd name="connsiteX3" fmla="*/ 0 w 2711347"/>
                <a:gd name="connsiteY3" fmla="*/ 0 h 257442"/>
                <a:gd name="connsiteX0" fmla="*/ 2863632 w 2863632"/>
                <a:gd name="connsiteY0" fmla="*/ 0 h 257442"/>
                <a:gd name="connsiteX1" fmla="*/ 2656626 w 2863632"/>
                <a:gd name="connsiteY1" fmla="*/ 257442 h 257442"/>
                <a:gd name="connsiteX2" fmla="*/ 0 w 2863632"/>
                <a:gd name="connsiteY2" fmla="*/ 257442 h 257442"/>
                <a:gd name="connsiteX3" fmla="*/ 0 w 2863632"/>
                <a:gd name="connsiteY3" fmla="*/ 0 h 257442"/>
                <a:gd name="connsiteX0" fmla="*/ 2863632 w 2863632"/>
                <a:gd name="connsiteY0" fmla="*/ 0 h 257442"/>
                <a:gd name="connsiteX1" fmla="*/ 2808910 w 2863632"/>
                <a:gd name="connsiteY1" fmla="*/ 257442 h 257442"/>
                <a:gd name="connsiteX2" fmla="*/ 0 w 2863632"/>
                <a:gd name="connsiteY2" fmla="*/ 257442 h 257442"/>
                <a:gd name="connsiteX3" fmla="*/ 0 w 2863632"/>
                <a:gd name="connsiteY3" fmla="*/ 0 h 257442"/>
                <a:gd name="connsiteX0" fmla="*/ 2863633 w 2863633"/>
                <a:gd name="connsiteY0" fmla="*/ 0 h 257442"/>
                <a:gd name="connsiteX1" fmla="*/ 2808911 w 2863633"/>
                <a:gd name="connsiteY1" fmla="*/ 257442 h 257442"/>
                <a:gd name="connsiteX2" fmla="*/ 0 w 2863633"/>
                <a:gd name="connsiteY2" fmla="*/ 257442 h 257442"/>
                <a:gd name="connsiteX3" fmla="*/ 1 w 2863633"/>
                <a:gd name="connsiteY3" fmla="*/ 0 h 257442"/>
                <a:gd name="connsiteX0" fmla="*/ 2863633 w 2863633"/>
                <a:gd name="connsiteY0" fmla="*/ 0 h 257442"/>
                <a:gd name="connsiteX1" fmla="*/ 2808911 w 2863633"/>
                <a:gd name="connsiteY1" fmla="*/ 257442 h 257442"/>
                <a:gd name="connsiteX2" fmla="*/ 0 w 2863633"/>
                <a:gd name="connsiteY2" fmla="*/ 257442 h 257442"/>
                <a:gd name="connsiteX3" fmla="*/ 1 w 2863633"/>
                <a:gd name="connsiteY3" fmla="*/ 0 h 257442"/>
                <a:gd name="connsiteX0" fmla="*/ 2964622 w 2964622"/>
                <a:gd name="connsiteY0" fmla="*/ 0 h 257442"/>
                <a:gd name="connsiteX1" fmla="*/ 2808911 w 2964622"/>
                <a:gd name="connsiteY1" fmla="*/ 257442 h 257442"/>
                <a:gd name="connsiteX2" fmla="*/ 0 w 2964622"/>
                <a:gd name="connsiteY2" fmla="*/ 257442 h 257442"/>
                <a:gd name="connsiteX3" fmla="*/ 1 w 2964622"/>
                <a:gd name="connsiteY3" fmla="*/ 0 h 257442"/>
                <a:gd name="connsiteX0" fmla="*/ 2964622 w 2964622"/>
                <a:gd name="connsiteY0" fmla="*/ 0 h 257442"/>
                <a:gd name="connsiteX1" fmla="*/ 2909900 w 2964622"/>
                <a:gd name="connsiteY1" fmla="*/ 257442 h 257442"/>
                <a:gd name="connsiteX2" fmla="*/ 0 w 2964622"/>
                <a:gd name="connsiteY2" fmla="*/ 257442 h 257442"/>
                <a:gd name="connsiteX3" fmla="*/ 1 w 2964622"/>
                <a:gd name="connsiteY3" fmla="*/ 0 h 257442"/>
                <a:gd name="connsiteX0" fmla="*/ 2964622 w 2964622"/>
                <a:gd name="connsiteY0" fmla="*/ 0 h 257442"/>
                <a:gd name="connsiteX1" fmla="*/ 2909900 w 2964622"/>
                <a:gd name="connsiteY1" fmla="*/ 257442 h 257442"/>
                <a:gd name="connsiteX2" fmla="*/ 0 w 2964622"/>
                <a:gd name="connsiteY2" fmla="*/ 257442 h 257442"/>
                <a:gd name="connsiteX3" fmla="*/ 1 w 2964622"/>
                <a:gd name="connsiteY3" fmla="*/ 0 h 257442"/>
                <a:gd name="connsiteX0" fmla="*/ 2964622 w 2964622"/>
                <a:gd name="connsiteY0" fmla="*/ 0 h 257442"/>
                <a:gd name="connsiteX1" fmla="*/ 2909900 w 2964622"/>
                <a:gd name="connsiteY1" fmla="*/ 257442 h 257442"/>
                <a:gd name="connsiteX2" fmla="*/ 0 w 2964622"/>
                <a:gd name="connsiteY2" fmla="*/ 257442 h 257442"/>
                <a:gd name="connsiteX3" fmla="*/ 0 w 2964622"/>
                <a:gd name="connsiteY3" fmla="*/ 0 h 257442"/>
                <a:gd name="connsiteX0" fmla="*/ 3150570 w 3150570"/>
                <a:gd name="connsiteY0" fmla="*/ 0 h 257442"/>
                <a:gd name="connsiteX1" fmla="*/ 2909900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150570 w 3150570"/>
                <a:gd name="connsiteY0" fmla="*/ 0 h 257442"/>
                <a:gd name="connsiteX1" fmla="*/ 3095849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150570 w 3150570"/>
                <a:gd name="connsiteY0" fmla="*/ 0 h 257442"/>
                <a:gd name="connsiteX1" fmla="*/ 3095849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150570 w 3150570"/>
                <a:gd name="connsiteY0" fmla="*/ 0 h 257442"/>
                <a:gd name="connsiteX1" fmla="*/ 3095849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310870 w 3310870"/>
                <a:gd name="connsiteY0" fmla="*/ 0 h 257442"/>
                <a:gd name="connsiteX1" fmla="*/ 3095849 w 3310870"/>
                <a:gd name="connsiteY1" fmla="*/ 257442 h 257442"/>
                <a:gd name="connsiteX2" fmla="*/ 0 w 3310870"/>
                <a:gd name="connsiteY2" fmla="*/ 257442 h 257442"/>
                <a:gd name="connsiteX3" fmla="*/ 0 w 3310870"/>
                <a:gd name="connsiteY3" fmla="*/ 0 h 257442"/>
                <a:gd name="connsiteX0" fmla="*/ 3310870 w 3310870"/>
                <a:gd name="connsiteY0" fmla="*/ 0 h 257442"/>
                <a:gd name="connsiteX1" fmla="*/ 3256149 w 3310870"/>
                <a:gd name="connsiteY1" fmla="*/ 257442 h 257442"/>
                <a:gd name="connsiteX2" fmla="*/ 0 w 3310870"/>
                <a:gd name="connsiteY2" fmla="*/ 257442 h 257442"/>
                <a:gd name="connsiteX3" fmla="*/ 0 w 3310870"/>
                <a:gd name="connsiteY3" fmla="*/ 0 h 257442"/>
                <a:gd name="connsiteX0" fmla="*/ 3310870 w 3310870"/>
                <a:gd name="connsiteY0" fmla="*/ 0 h 257442"/>
                <a:gd name="connsiteX1" fmla="*/ 3256149 w 3310870"/>
                <a:gd name="connsiteY1" fmla="*/ 257442 h 257442"/>
                <a:gd name="connsiteX2" fmla="*/ 0 w 3310870"/>
                <a:gd name="connsiteY2" fmla="*/ 257442 h 257442"/>
                <a:gd name="connsiteX3" fmla="*/ 0 w 3310870"/>
                <a:gd name="connsiteY3" fmla="*/ 0 h 257442"/>
                <a:gd name="connsiteX0" fmla="*/ 3310870 w 3310870"/>
                <a:gd name="connsiteY0" fmla="*/ 0 h 257442"/>
                <a:gd name="connsiteX1" fmla="*/ 3256149 w 3310870"/>
                <a:gd name="connsiteY1" fmla="*/ 257442 h 257442"/>
                <a:gd name="connsiteX2" fmla="*/ 0 w 3310870"/>
                <a:gd name="connsiteY2" fmla="*/ 257442 h 257442"/>
                <a:gd name="connsiteX3" fmla="*/ 0 w 3310870"/>
                <a:gd name="connsiteY3" fmla="*/ 0 h 257442"/>
                <a:gd name="connsiteX0" fmla="*/ 3479186 w 3479186"/>
                <a:gd name="connsiteY0" fmla="*/ 0 h 257442"/>
                <a:gd name="connsiteX1" fmla="*/ 3256149 w 3479186"/>
                <a:gd name="connsiteY1" fmla="*/ 257442 h 257442"/>
                <a:gd name="connsiteX2" fmla="*/ 0 w 3479186"/>
                <a:gd name="connsiteY2" fmla="*/ 257442 h 257442"/>
                <a:gd name="connsiteX3" fmla="*/ 0 w 3479186"/>
                <a:gd name="connsiteY3" fmla="*/ 0 h 257442"/>
                <a:gd name="connsiteX0" fmla="*/ 3479186 w 3479186"/>
                <a:gd name="connsiteY0" fmla="*/ 0 h 257442"/>
                <a:gd name="connsiteX1" fmla="*/ 3424465 w 3479186"/>
                <a:gd name="connsiteY1" fmla="*/ 257442 h 257442"/>
                <a:gd name="connsiteX2" fmla="*/ 0 w 3479186"/>
                <a:gd name="connsiteY2" fmla="*/ 257442 h 257442"/>
                <a:gd name="connsiteX3" fmla="*/ 0 w 3479186"/>
                <a:gd name="connsiteY3" fmla="*/ 0 h 257442"/>
                <a:gd name="connsiteX0" fmla="*/ 3479186 w 3479186"/>
                <a:gd name="connsiteY0" fmla="*/ 0 h 257442"/>
                <a:gd name="connsiteX1" fmla="*/ 3424465 w 3479186"/>
                <a:gd name="connsiteY1" fmla="*/ 257442 h 257442"/>
                <a:gd name="connsiteX2" fmla="*/ 0 w 3479186"/>
                <a:gd name="connsiteY2" fmla="*/ 257442 h 257442"/>
                <a:gd name="connsiteX3" fmla="*/ 0 w 3479186"/>
                <a:gd name="connsiteY3" fmla="*/ 0 h 257442"/>
                <a:gd name="connsiteX0" fmla="*/ 3479186 w 3479186"/>
                <a:gd name="connsiteY0" fmla="*/ 0 h 257442"/>
                <a:gd name="connsiteX1" fmla="*/ 3424465 w 3479186"/>
                <a:gd name="connsiteY1" fmla="*/ 257442 h 257442"/>
                <a:gd name="connsiteX2" fmla="*/ 0 w 3479186"/>
                <a:gd name="connsiteY2" fmla="*/ 257442 h 257442"/>
                <a:gd name="connsiteX3" fmla="*/ 0 w 3479186"/>
                <a:gd name="connsiteY3" fmla="*/ 0 h 257442"/>
                <a:gd name="connsiteX0" fmla="*/ 3631470 w 3631470"/>
                <a:gd name="connsiteY0" fmla="*/ 0 h 257442"/>
                <a:gd name="connsiteX1" fmla="*/ 3424465 w 3631470"/>
                <a:gd name="connsiteY1" fmla="*/ 257442 h 257442"/>
                <a:gd name="connsiteX2" fmla="*/ 0 w 3631470"/>
                <a:gd name="connsiteY2" fmla="*/ 257442 h 257442"/>
                <a:gd name="connsiteX3" fmla="*/ 0 w 3631470"/>
                <a:gd name="connsiteY3" fmla="*/ 0 h 257442"/>
                <a:gd name="connsiteX0" fmla="*/ 3631470 w 3631470"/>
                <a:gd name="connsiteY0" fmla="*/ 0 h 257442"/>
                <a:gd name="connsiteX1" fmla="*/ 3576749 w 3631470"/>
                <a:gd name="connsiteY1" fmla="*/ 257442 h 257442"/>
                <a:gd name="connsiteX2" fmla="*/ 0 w 3631470"/>
                <a:gd name="connsiteY2" fmla="*/ 257442 h 257442"/>
                <a:gd name="connsiteX3" fmla="*/ 0 w 3631470"/>
                <a:gd name="connsiteY3" fmla="*/ 0 h 257442"/>
                <a:gd name="connsiteX0" fmla="*/ 3631470 w 3631470"/>
                <a:gd name="connsiteY0" fmla="*/ 0 h 257442"/>
                <a:gd name="connsiteX1" fmla="*/ 3576749 w 3631470"/>
                <a:gd name="connsiteY1" fmla="*/ 257442 h 257442"/>
                <a:gd name="connsiteX2" fmla="*/ 0 w 3631470"/>
                <a:gd name="connsiteY2" fmla="*/ 257442 h 257442"/>
                <a:gd name="connsiteX3" fmla="*/ 0 w 3631470"/>
                <a:gd name="connsiteY3" fmla="*/ 0 h 257442"/>
                <a:gd name="connsiteX0" fmla="*/ 3631470 w 3631470"/>
                <a:gd name="connsiteY0" fmla="*/ 0 h 257442"/>
                <a:gd name="connsiteX1" fmla="*/ 3576749 w 3631470"/>
                <a:gd name="connsiteY1" fmla="*/ 257442 h 257442"/>
                <a:gd name="connsiteX2" fmla="*/ 0 w 3631470"/>
                <a:gd name="connsiteY2" fmla="*/ 257442 h 257442"/>
                <a:gd name="connsiteX3" fmla="*/ 0 w 3631470"/>
                <a:gd name="connsiteY3" fmla="*/ 0 h 257442"/>
                <a:gd name="connsiteX0" fmla="*/ 3456294 w 3576749"/>
                <a:gd name="connsiteY0" fmla="*/ 0 h 257442"/>
                <a:gd name="connsiteX1" fmla="*/ 3576749 w 3576749"/>
                <a:gd name="connsiteY1" fmla="*/ 257442 h 257442"/>
                <a:gd name="connsiteX2" fmla="*/ 0 w 3576749"/>
                <a:gd name="connsiteY2" fmla="*/ 257442 h 257442"/>
                <a:gd name="connsiteX3" fmla="*/ 0 w 3576749"/>
                <a:gd name="connsiteY3" fmla="*/ 0 h 257442"/>
                <a:gd name="connsiteX0" fmla="*/ 3456294 w 3456294"/>
                <a:gd name="connsiteY0" fmla="*/ 0 h 257442"/>
                <a:gd name="connsiteX1" fmla="*/ 3401574 w 3456294"/>
                <a:gd name="connsiteY1" fmla="*/ 257442 h 257442"/>
                <a:gd name="connsiteX2" fmla="*/ 0 w 3456294"/>
                <a:gd name="connsiteY2" fmla="*/ 257442 h 257442"/>
                <a:gd name="connsiteX3" fmla="*/ 0 w 3456294"/>
                <a:gd name="connsiteY3" fmla="*/ 0 h 257442"/>
                <a:gd name="connsiteX0" fmla="*/ 3456294 w 3456294"/>
                <a:gd name="connsiteY0" fmla="*/ 0 h 257442"/>
                <a:gd name="connsiteX1" fmla="*/ 3401574 w 3456294"/>
                <a:gd name="connsiteY1" fmla="*/ 257442 h 257442"/>
                <a:gd name="connsiteX2" fmla="*/ 1 w 3456294"/>
                <a:gd name="connsiteY2" fmla="*/ 257442 h 257442"/>
                <a:gd name="connsiteX3" fmla="*/ 0 w 3456294"/>
                <a:gd name="connsiteY3" fmla="*/ 0 h 257442"/>
                <a:gd name="connsiteX0" fmla="*/ 3456293 w 3456293"/>
                <a:gd name="connsiteY0" fmla="*/ 0 h 257442"/>
                <a:gd name="connsiteX1" fmla="*/ 3401573 w 3456293"/>
                <a:gd name="connsiteY1" fmla="*/ 257442 h 257442"/>
                <a:gd name="connsiteX2" fmla="*/ 0 w 3456293"/>
                <a:gd name="connsiteY2" fmla="*/ 257442 h 257442"/>
                <a:gd name="connsiteX3" fmla="*/ 0 w 3456293"/>
                <a:gd name="connsiteY3" fmla="*/ 0 h 257442"/>
                <a:gd name="connsiteX0" fmla="*/ 3304009 w 3401573"/>
                <a:gd name="connsiteY0" fmla="*/ 0 h 257442"/>
                <a:gd name="connsiteX1" fmla="*/ 3401573 w 3401573"/>
                <a:gd name="connsiteY1" fmla="*/ 257442 h 257442"/>
                <a:gd name="connsiteX2" fmla="*/ 0 w 3401573"/>
                <a:gd name="connsiteY2" fmla="*/ 257442 h 257442"/>
                <a:gd name="connsiteX3" fmla="*/ 0 w 3401573"/>
                <a:gd name="connsiteY3" fmla="*/ 0 h 257442"/>
                <a:gd name="connsiteX0" fmla="*/ 3304009 w 3304009"/>
                <a:gd name="connsiteY0" fmla="*/ 0 h 257442"/>
                <a:gd name="connsiteX1" fmla="*/ 3249288 w 3304009"/>
                <a:gd name="connsiteY1" fmla="*/ 257442 h 257442"/>
                <a:gd name="connsiteX2" fmla="*/ 0 w 3304009"/>
                <a:gd name="connsiteY2" fmla="*/ 257442 h 257442"/>
                <a:gd name="connsiteX3" fmla="*/ 0 w 3304009"/>
                <a:gd name="connsiteY3" fmla="*/ 0 h 257442"/>
                <a:gd name="connsiteX0" fmla="*/ 3304009 w 3304009"/>
                <a:gd name="connsiteY0" fmla="*/ 0 h 257442"/>
                <a:gd name="connsiteX1" fmla="*/ 3249288 w 3304009"/>
                <a:gd name="connsiteY1" fmla="*/ 257442 h 257442"/>
                <a:gd name="connsiteX2" fmla="*/ 0 w 3304009"/>
                <a:gd name="connsiteY2" fmla="*/ 257442 h 257442"/>
                <a:gd name="connsiteX3" fmla="*/ 0 w 3304009"/>
                <a:gd name="connsiteY3" fmla="*/ 0 h 257442"/>
                <a:gd name="connsiteX0" fmla="*/ 3304009 w 3304009"/>
                <a:gd name="connsiteY0" fmla="*/ 0 h 257442"/>
                <a:gd name="connsiteX1" fmla="*/ 3249288 w 3304009"/>
                <a:gd name="connsiteY1" fmla="*/ 257442 h 257442"/>
                <a:gd name="connsiteX2" fmla="*/ 0 w 3304009"/>
                <a:gd name="connsiteY2" fmla="*/ 257442 h 257442"/>
                <a:gd name="connsiteX3" fmla="*/ 0 w 3304009"/>
                <a:gd name="connsiteY3" fmla="*/ 0 h 257442"/>
                <a:gd name="connsiteX0" fmla="*/ 3143709 w 3249288"/>
                <a:gd name="connsiteY0" fmla="*/ 0 h 257442"/>
                <a:gd name="connsiteX1" fmla="*/ 3249288 w 3249288"/>
                <a:gd name="connsiteY1" fmla="*/ 257442 h 257442"/>
                <a:gd name="connsiteX2" fmla="*/ 0 w 3249288"/>
                <a:gd name="connsiteY2" fmla="*/ 257442 h 257442"/>
                <a:gd name="connsiteX3" fmla="*/ 0 w 3249288"/>
                <a:gd name="connsiteY3" fmla="*/ 0 h 257442"/>
                <a:gd name="connsiteX0" fmla="*/ 3143709 w 3143709"/>
                <a:gd name="connsiteY0" fmla="*/ 0 h 257442"/>
                <a:gd name="connsiteX1" fmla="*/ 3088988 w 3143709"/>
                <a:gd name="connsiteY1" fmla="*/ 257442 h 257442"/>
                <a:gd name="connsiteX2" fmla="*/ 0 w 3143709"/>
                <a:gd name="connsiteY2" fmla="*/ 257442 h 257442"/>
                <a:gd name="connsiteX3" fmla="*/ 0 w 3143709"/>
                <a:gd name="connsiteY3" fmla="*/ 0 h 257442"/>
                <a:gd name="connsiteX0" fmla="*/ 3143709 w 3143709"/>
                <a:gd name="connsiteY0" fmla="*/ 0 h 257442"/>
                <a:gd name="connsiteX1" fmla="*/ 3088988 w 3143709"/>
                <a:gd name="connsiteY1" fmla="*/ 257442 h 257442"/>
                <a:gd name="connsiteX2" fmla="*/ 1 w 3143709"/>
                <a:gd name="connsiteY2" fmla="*/ 257442 h 257442"/>
                <a:gd name="connsiteX3" fmla="*/ 0 w 3143709"/>
                <a:gd name="connsiteY3" fmla="*/ 0 h 257442"/>
                <a:gd name="connsiteX0" fmla="*/ 3143708 w 3143708"/>
                <a:gd name="connsiteY0" fmla="*/ 0 h 257442"/>
                <a:gd name="connsiteX1" fmla="*/ 3088987 w 3143708"/>
                <a:gd name="connsiteY1" fmla="*/ 257442 h 257442"/>
                <a:gd name="connsiteX2" fmla="*/ 0 w 3143708"/>
                <a:gd name="connsiteY2" fmla="*/ 257442 h 257442"/>
                <a:gd name="connsiteX3" fmla="*/ 0 w 3143708"/>
                <a:gd name="connsiteY3" fmla="*/ 0 h 257442"/>
                <a:gd name="connsiteX0" fmla="*/ 2975392 w 3088987"/>
                <a:gd name="connsiteY0" fmla="*/ 0 h 257442"/>
                <a:gd name="connsiteX1" fmla="*/ 3088987 w 3088987"/>
                <a:gd name="connsiteY1" fmla="*/ 257442 h 257442"/>
                <a:gd name="connsiteX2" fmla="*/ 0 w 3088987"/>
                <a:gd name="connsiteY2" fmla="*/ 257442 h 257442"/>
                <a:gd name="connsiteX3" fmla="*/ 0 w 3088987"/>
                <a:gd name="connsiteY3" fmla="*/ 0 h 257442"/>
                <a:gd name="connsiteX0" fmla="*/ 2975392 w 2975392"/>
                <a:gd name="connsiteY0" fmla="*/ 0 h 257442"/>
                <a:gd name="connsiteX1" fmla="*/ 2920672 w 2975392"/>
                <a:gd name="connsiteY1" fmla="*/ 257442 h 257442"/>
                <a:gd name="connsiteX2" fmla="*/ 0 w 2975392"/>
                <a:gd name="connsiteY2" fmla="*/ 257442 h 257442"/>
                <a:gd name="connsiteX3" fmla="*/ 0 w 2975392"/>
                <a:gd name="connsiteY3" fmla="*/ 0 h 257442"/>
                <a:gd name="connsiteX0" fmla="*/ 2975392 w 2975392"/>
                <a:gd name="connsiteY0" fmla="*/ 0 h 257442"/>
                <a:gd name="connsiteX1" fmla="*/ 2920672 w 2975392"/>
                <a:gd name="connsiteY1" fmla="*/ 257442 h 257442"/>
                <a:gd name="connsiteX2" fmla="*/ 0 w 2975392"/>
                <a:gd name="connsiteY2" fmla="*/ 257442 h 257442"/>
                <a:gd name="connsiteX3" fmla="*/ 0 w 2975392"/>
                <a:gd name="connsiteY3" fmla="*/ 0 h 257442"/>
                <a:gd name="connsiteX0" fmla="*/ 2975392 w 2975392"/>
                <a:gd name="connsiteY0" fmla="*/ 0 h 257442"/>
                <a:gd name="connsiteX1" fmla="*/ 2920672 w 2975392"/>
                <a:gd name="connsiteY1" fmla="*/ 257442 h 257442"/>
                <a:gd name="connsiteX2" fmla="*/ 0 w 2975392"/>
                <a:gd name="connsiteY2" fmla="*/ 257442 h 257442"/>
                <a:gd name="connsiteX3" fmla="*/ 0 w 2975392"/>
                <a:gd name="connsiteY3" fmla="*/ 0 h 257442"/>
                <a:gd name="connsiteX0" fmla="*/ 3153327 w 3153327"/>
                <a:gd name="connsiteY0" fmla="*/ 0 h 257442"/>
                <a:gd name="connsiteX1" fmla="*/ 2920672 w 3153327"/>
                <a:gd name="connsiteY1" fmla="*/ 257442 h 257442"/>
                <a:gd name="connsiteX2" fmla="*/ 0 w 3153327"/>
                <a:gd name="connsiteY2" fmla="*/ 257442 h 257442"/>
                <a:gd name="connsiteX3" fmla="*/ 0 w 3153327"/>
                <a:gd name="connsiteY3" fmla="*/ 0 h 257442"/>
                <a:gd name="connsiteX0" fmla="*/ 3153327 w 3153327"/>
                <a:gd name="connsiteY0" fmla="*/ 0 h 257442"/>
                <a:gd name="connsiteX1" fmla="*/ 3098606 w 3153327"/>
                <a:gd name="connsiteY1" fmla="*/ 257442 h 257442"/>
                <a:gd name="connsiteX2" fmla="*/ 0 w 3153327"/>
                <a:gd name="connsiteY2" fmla="*/ 257442 h 257442"/>
                <a:gd name="connsiteX3" fmla="*/ 0 w 3153327"/>
                <a:gd name="connsiteY3" fmla="*/ 0 h 257442"/>
                <a:gd name="connsiteX0" fmla="*/ 3153327 w 3153327"/>
                <a:gd name="connsiteY0" fmla="*/ 0 h 257442"/>
                <a:gd name="connsiteX1" fmla="*/ 3098606 w 3153327"/>
                <a:gd name="connsiteY1" fmla="*/ 257442 h 257442"/>
                <a:gd name="connsiteX2" fmla="*/ 0 w 3153327"/>
                <a:gd name="connsiteY2" fmla="*/ 257442 h 257442"/>
                <a:gd name="connsiteX3" fmla="*/ 0 w 3153327"/>
                <a:gd name="connsiteY3" fmla="*/ 0 h 257442"/>
                <a:gd name="connsiteX0" fmla="*/ 3153327 w 3153327"/>
                <a:gd name="connsiteY0" fmla="*/ 0 h 257442"/>
                <a:gd name="connsiteX1" fmla="*/ 3098606 w 3153327"/>
                <a:gd name="connsiteY1" fmla="*/ 257442 h 257442"/>
                <a:gd name="connsiteX2" fmla="*/ 0 w 3153327"/>
                <a:gd name="connsiteY2" fmla="*/ 257442 h 257442"/>
                <a:gd name="connsiteX3" fmla="*/ 0 w 3153327"/>
                <a:gd name="connsiteY3" fmla="*/ 0 h 257442"/>
                <a:gd name="connsiteX0" fmla="*/ 3321642 w 3321642"/>
                <a:gd name="connsiteY0" fmla="*/ 0 h 257442"/>
                <a:gd name="connsiteX1" fmla="*/ 3098606 w 3321642"/>
                <a:gd name="connsiteY1" fmla="*/ 257442 h 257442"/>
                <a:gd name="connsiteX2" fmla="*/ 0 w 3321642"/>
                <a:gd name="connsiteY2" fmla="*/ 257442 h 257442"/>
                <a:gd name="connsiteX3" fmla="*/ 0 w 3321642"/>
                <a:gd name="connsiteY3" fmla="*/ 0 h 257442"/>
                <a:gd name="connsiteX0" fmla="*/ 3321642 w 3321642"/>
                <a:gd name="connsiteY0" fmla="*/ 0 h 257442"/>
                <a:gd name="connsiteX1" fmla="*/ 3266920 w 3321642"/>
                <a:gd name="connsiteY1" fmla="*/ 257442 h 257442"/>
                <a:gd name="connsiteX2" fmla="*/ 0 w 3321642"/>
                <a:gd name="connsiteY2" fmla="*/ 257442 h 257442"/>
                <a:gd name="connsiteX3" fmla="*/ 0 w 3321642"/>
                <a:gd name="connsiteY3" fmla="*/ 0 h 257442"/>
                <a:gd name="connsiteX0" fmla="*/ 3321643 w 3321643"/>
                <a:gd name="connsiteY0" fmla="*/ 0 h 257442"/>
                <a:gd name="connsiteX1" fmla="*/ 3266921 w 3321643"/>
                <a:gd name="connsiteY1" fmla="*/ 257442 h 257442"/>
                <a:gd name="connsiteX2" fmla="*/ 0 w 3321643"/>
                <a:gd name="connsiteY2" fmla="*/ 257442 h 257442"/>
                <a:gd name="connsiteX3" fmla="*/ 1 w 3321643"/>
                <a:gd name="connsiteY3" fmla="*/ 0 h 257442"/>
                <a:gd name="connsiteX0" fmla="*/ 3321643 w 3321643"/>
                <a:gd name="connsiteY0" fmla="*/ 0 h 257442"/>
                <a:gd name="connsiteX1" fmla="*/ 3266921 w 3321643"/>
                <a:gd name="connsiteY1" fmla="*/ 257442 h 257442"/>
                <a:gd name="connsiteX2" fmla="*/ 0 w 3321643"/>
                <a:gd name="connsiteY2" fmla="*/ 257442 h 257442"/>
                <a:gd name="connsiteX3" fmla="*/ 1 w 3321643"/>
                <a:gd name="connsiteY3" fmla="*/ 0 h 257442"/>
                <a:gd name="connsiteX0" fmla="*/ 3481943 w 3481943"/>
                <a:gd name="connsiteY0" fmla="*/ 0 h 257442"/>
                <a:gd name="connsiteX1" fmla="*/ 3266921 w 3481943"/>
                <a:gd name="connsiteY1" fmla="*/ 257442 h 257442"/>
                <a:gd name="connsiteX2" fmla="*/ 0 w 3481943"/>
                <a:gd name="connsiteY2" fmla="*/ 257442 h 257442"/>
                <a:gd name="connsiteX3" fmla="*/ 1 w 3481943"/>
                <a:gd name="connsiteY3" fmla="*/ 0 h 257442"/>
                <a:gd name="connsiteX0" fmla="*/ 3481943 w 3481943"/>
                <a:gd name="connsiteY0" fmla="*/ 0 h 257442"/>
                <a:gd name="connsiteX1" fmla="*/ 3427222 w 3481943"/>
                <a:gd name="connsiteY1" fmla="*/ 257442 h 257442"/>
                <a:gd name="connsiteX2" fmla="*/ 0 w 3481943"/>
                <a:gd name="connsiteY2" fmla="*/ 257442 h 257442"/>
                <a:gd name="connsiteX3" fmla="*/ 1 w 3481943"/>
                <a:gd name="connsiteY3" fmla="*/ 0 h 257442"/>
                <a:gd name="connsiteX0" fmla="*/ 3481942 w 3481942"/>
                <a:gd name="connsiteY0" fmla="*/ 0 h 257442"/>
                <a:gd name="connsiteX1" fmla="*/ 3427221 w 3481942"/>
                <a:gd name="connsiteY1" fmla="*/ 257442 h 257442"/>
                <a:gd name="connsiteX2" fmla="*/ 0 w 3481942"/>
                <a:gd name="connsiteY2" fmla="*/ 257442 h 257442"/>
                <a:gd name="connsiteX3" fmla="*/ 0 w 3481942"/>
                <a:gd name="connsiteY3" fmla="*/ 0 h 257442"/>
                <a:gd name="connsiteX0" fmla="*/ 3481943 w 3481943"/>
                <a:gd name="connsiteY0" fmla="*/ 0 h 257442"/>
                <a:gd name="connsiteX1" fmla="*/ 3427222 w 3481943"/>
                <a:gd name="connsiteY1" fmla="*/ 257442 h 257442"/>
                <a:gd name="connsiteX2" fmla="*/ 1 w 3481943"/>
                <a:gd name="connsiteY2" fmla="*/ 257442 h 257442"/>
                <a:gd name="connsiteX3" fmla="*/ 0 w 3481943"/>
                <a:gd name="connsiteY3" fmla="*/ 0 h 257442"/>
                <a:gd name="connsiteX0" fmla="*/ 3650259 w 3650259"/>
                <a:gd name="connsiteY0" fmla="*/ 0 h 257442"/>
                <a:gd name="connsiteX1" fmla="*/ 3427222 w 3650259"/>
                <a:gd name="connsiteY1" fmla="*/ 257442 h 257442"/>
                <a:gd name="connsiteX2" fmla="*/ 1 w 3650259"/>
                <a:gd name="connsiteY2" fmla="*/ 257442 h 257442"/>
                <a:gd name="connsiteX3" fmla="*/ 0 w 3650259"/>
                <a:gd name="connsiteY3" fmla="*/ 0 h 257442"/>
                <a:gd name="connsiteX0" fmla="*/ 3650259 w 3650259"/>
                <a:gd name="connsiteY0" fmla="*/ 0 h 257442"/>
                <a:gd name="connsiteX1" fmla="*/ 3595538 w 3650259"/>
                <a:gd name="connsiteY1" fmla="*/ 257442 h 257442"/>
                <a:gd name="connsiteX2" fmla="*/ 1 w 3650259"/>
                <a:gd name="connsiteY2" fmla="*/ 257442 h 257442"/>
                <a:gd name="connsiteX3" fmla="*/ 0 w 3650259"/>
                <a:gd name="connsiteY3" fmla="*/ 0 h 257442"/>
                <a:gd name="connsiteX0" fmla="*/ 3650259 w 3650259"/>
                <a:gd name="connsiteY0" fmla="*/ 0 h 257442"/>
                <a:gd name="connsiteX1" fmla="*/ 3595538 w 3650259"/>
                <a:gd name="connsiteY1" fmla="*/ 257442 h 257442"/>
                <a:gd name="connsiteX2" fmla="*/ 1 w 3650259"/>
                <a:gd name="connsiteY2" fmla="*/ 257442 h 257442"/>
                <a:gd name="connsiteX3" fmla="*/ 0 w 3650259"/>
                <a:gd name="connsiteY3" fmla="*/ 0 h 257442"/>
                <a:gd name="connsiteX0" fmla="*/ 3650258 w 3650258"/>
                <a:gd name="connsiteY0" fmla="*/ 0 h 257442"/>
                <a:gd name="connsiteX1" fmla="*/ 3595537 w 3650258"/>
                <a:gd name="connsiteY1" fmla="*/ 257442 h 257442"/>
                <a:gd name="connsiteX2" fmla="*/ 0 w 3650258"/>
                <a:gd name="connsiteY2" fmla="*/ 257442 h 257442"/>
                <a:gd name="connsiteX3" fmla="*/ 0 w 3650258"/>
                <a:gd name="connsiteY3" fmla="*/ 0 h 257442"/>
                <a:gd name="connsiteX0" fmla="*/ 3836205 w 3836205"/>
                <a:gd name="connsiteY0" fmla="*/ 0 h 257442"/>
                <a:gd name="connsiteX1" fmla="*/ 3595537 w 3836205"/>
                <a:gd name="connsiteY1" fmla="*/ 257442 h 257442"/>
                <a:gd name="connsiteX2" fmla="*/ 0 w 3836205"/>
                <a:gd name="connsiteY2" fmla="*/ 257442 h 257442"/>
                <a:gd name="connsiteX3" fmla="*/ 0 w 3836205"/>
                <a:gd name="connsiteY3" fmla="*/ 0 h 257442"/>
                <a:gd name="connsiteX0" fmla="*/ 3836205 w 3836205"/>
                <a:gd name="connsiteY0" fmla="*/ 0 h 257442"/>
                <a:gd name="connsiteX1" fmla="*/ 3781484 w 3836205"/>
                <a:gd name="connsiteY1" fmla="*/ 257442 h 257442"/>
                <a:gd name="connsiteX2" fmla="*/ 0 w 3836205"/>
                <a:gd name="connsiteY2" fmla="*/ 257442 h 257442"/>
                <a:gd name="connsiteX3" fmla="*/ 0 w 3836205"/>
                <a:gd name="connsiteY3" fmla="*/ 0 h 257442"/>
                <a:gd name="connsiteX0" fmla="*/ 3836206 w 3836206"/>
                <a:gd name="connsiteY0" fmla="*/ 0 h 257442"/>
                <a:gd name="connsiteX1" fmla="*/ 3781485 w 3836206"/>
                <a:gd name="connsiteY1" fmla="*/ 257442 h 257442"/>
                <a:gd name="connsiteX2" fmla="*/ 0 w 3836206"/>
                <a:gd name="connsiteY2" fmla="*/ 257442 h 257442"/>
                <a:gd name="connsiteX3" fmla="*/ 1 w 3836206"/>
                <a:gd name="connsiteY3" fmla="*/ 0 h 257442"/>
                <a:gd name="connsiteX0" fmla="*/ 3836206 w 3836206"/>
                <a:gd name="connsiteY0" fmla="*/ 0 h 257442"/>
                <a:gd name="connsiteX1" fmla="*/ 3781485 w 3836206"/>
                <a:gd name="connsiteY1" fmla="*/ 257442 h 257442"/>
                <a:gd name="connsiteX2" fmla="*/ 0 w 3836206"/>
                <a:gd name="connsiteY2" fmla="*/ 257442 h 257442"/>
                <a:gd name="connsiteX3" fmla="*/ 0 w 3836206"/>
                <a:gd name="connsiteY3" fmla="*/ 0 h 257442"/>
                <a:gd name="connsiteX0" fmla="*/ 3650258 w 3781485"/>
                <a:gd name="connsiteY0" fmla="*/ 0 h 257442"/>
                <a:gd name="connsiteX1" fmla="*/ 3781485 w 3781485"/>
                <a:gd name="connsiteY1" fmla="*/ 257442 h 257442"/>
                <a:gd name="connsiteX2" fmla="*/ 0 w 3781485"/>
                <a:gd name="connsiteY2" fmla="*/ 257442 h 257442"/>
                <a:gd name="connsiteX3" fmla="*/ 0 w 3781485"/>
                <a:gd name="connsiteY3" fmla="*/ 0 h 257442"/>
                <a:gd name="connsiteX0" fmla="*/ 3650258 w 3650258"/>
                <a:gd name="connsiteY0" fmla="*/ 0 h 257442"/>
                <a:gd name="connsiteX1" fmla="*/ 3595538 w 3650258"/>
                <a:gd name="connsiteY1" fmla="*/ 257442 h 257442"/>
                <a:gd name="connsiteX2" fmla="*/ 0 w 3650258"/>
                <a:gd name="connsiteY2" fmla="*/ 257442 h 257442"/>
                <a:gd name="connsiteX3" fmla="*/ 0 w 3650258"/>
                <a:gd name="connsiteY3" fmla="*/ 0 h 257442"/>
                <a:gd name="connsiteX0" fmla="*/ 3650258 w 3650258"/>
                <a:gd name="connsiteY0" fmla="*/ 0 h 257442"/>
                <a:gd name="connsiteX1" fmla="*/ 3595538 w 3650258"/>
                <a:gd name="connsiteY1" fmla="*/ 257442 h 257442"/>
                <a:gd name="connsiteX2" fmla="*/ 1 w 3650258"/>
                <a:gd name="connsiteY2" fmla="*/ 257442 h 257442"/>
                <a:gd name="connsiteX3" fmla="*/ 0 w 3650258"/>
                <a:gd name="connsiteY3" fmla="*/ 0 h 257442"/>
                <a:gd name="connsiteX0" fmla="*/ 3650257 w 3650257"/>
                <a:gd name="connsiteY0" fmla="*/ 0 h 257442"/>
                <a:gd name="connsiteX1" fmla="*/ 3595537 w 3650257"/>
                <a:gd name="connsiteY1" fmla="*/ 257442 h 257442"/>
                <a:gd name="connsiteX2" fmla="*/ 0 w 3650257"/>
                <a:gd name="connsiteY2" fmla="*/ 257442 h 257442"/>
                <a:gd name="connsiteX3" fmla="*/ 0 w 365025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0257" h="257442">
                  <a:moveTo>
                    <a:pt x="3650257" y="0"/>
                  </a:moveTo>
                  <a:lnTo>
                    <a:pt x="3595537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9" name="btfpRunningAgenda2LevelTextLeft875286">
              <a:extLst>
                <a:ext uri="{FF2B5EF4-FFF2-40B4-BE49-F238E27FC236}">
                  <a16:creationId xmlns:a16="http://schemas.microsoft.com/office/drawing/2014/main" id="{D1C0299B-A091-A6A9-6556-0E71E2AD131E}"/>
                </a:ext>
              </a:extLst>
            </p:cNvPr>
            <p:cNvSpPr txBox="1"/>
            <p:nvPr/>
          </p:nvSpPr>
          <p:spPr bwMode="gray">
            <a:xfrm>
              <a:off x="0" y="876300"/>
              <a:ext cx="359553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nsumer sentiment</a:t>
              </a:r>
            </a:p>
          </p:txBody>
        </p:sp>
        <p:sp>
          <p:nvSpPr>
            <p:cNvPr id="32" name="btfpRunningAgenda2LevelBarRight875286">
              <a:extLst>
                <a:ext uri="{FF2B5EF4-FFF2-40B4-BE49-F238E27FC236}">
                  <a16:creationId xmlns:a16="http://schemas.microsoft.com/office/drawing/2014/main" id="{DA6F2C0F-D5E0-4EF3-459D-8FA5F4C453C1}"/>
                </a:ext>
              </a:extLst>
            </p:cNvPr>
            <p:cNvSpPr/>
            <p:nvPr/>
          </p:nvSpPr>
          <p:spPr bwMode="gray">
            <a:xfrm>
              <a:off x="3515416" y="876300"/>
              <a:ext cx="1869321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2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436960 w 1436960"/>
                <a:gd name="connsiteY0" fmla="*/ 0 h 257442"/>
                <a:gd name="connsiteX1" fmla="*/ 1064395 w 1436960"/>
                <a:gd name="connsiteY1" fmla="*/ 257442 h 257442"/>
                <a:gd name="connsiteX2" fmla="*/ 0 w 1436960"/>
                <a:gd name="connsiteY2" fmla="*/ 257442 h 257442"/>
                <a:gd name="connsiteX3" fmla="*/ 54721 w 1436960"/>
                <a:gd name="connsiteY3" fmla="*/ 0 h 257442"/>
                <a:gd name="connsiteX0" fmla="*/ 1436960 w 1436960"/>
                <a:gd name="connsiteY0" fmla="*/ 0 h 257442"/>
                <a:gd name="connsiteX1" fmla="*/ 1382239 w 1436960"/>
                <a:gd name="connsiteY1" fmla="*/ 257442 h 257442"/>
                <a:gd name="connsiteX2" fmla="*/ 0 w 1436960"/>
                <a:gd name="connsiteY2" fmla="*/ 257442 h 257442"/>
                <a:gd name="connsiteX3" fmla="*/ 54721 w 1436960"/>
                <a:gd name="connsiteY3" fmla="*/ 0 h 257442"/>
                <a:gd name="connsiteX0" fmla="*/ 1436960 w 1436960"/>
                <a:gd name="connsiteY0" fmla="*/ 0 h 257442"/>
                <a:gd name="connsiteX1" fmla="*/ 1382239 w 1436960"/>
                <a:gd name="connsiteY1" fmla="*/ 257442 h 257442"/>
                <a:gd name="connsiteX2" fmla="*/ 0 w 1436960"/>
                <a:gd name="connsiteY2" fmla="*/ 257442 h 257442"/>
                <a:gd name="connsiteX3" fmla="*/ 54721 w 1436960"/>
                <a:gd name="connsiteY3" fmla="*/ 0 h 257442"/>
                <a:gd name="connsiteX0" fmla="*/ 1436960 w 1436960"/>
                <a:gd name="connsiteY0" fmla="*/ 0 h 257442"/>
                <a:gd name="connsiteX1" fmla="*/ 1382239 w 1436960"/>
                <a:gd name="connsiteY1" fmla="*/ 257442 h 257442"/>
                <a:gd name="connsiteX2" fmla="*/ 0 w 1436960"/>
                <a:gd name="connsiteY2" fmla="*/ 257442 h 257442"/>
                <a:gd name="connsiteX3" fmla="*/ 54721 w 1436960"/>
                <a:gd name="connsiteY3" fmla="*/ 0 h 257442"/>
                <a:gd name="connsiteX0" fmla="*/ 1605275 w 1605275"/>
                <a:gd name="connsiteY0" fmla="*/ 0 h 257442"/>
                <a:gd name="connsiteX1" fmla="*/ 1382239 w 1605275"/>
                <a:gd name="connsiteY1" fmla="*/ 257442 h 257442"/>
                <a:gd name="connsiteX2" fmla="*/ 0 w 1605275"/>
                <a:gd name="connsiteY2" fmla="*/ 257442 h 257442"/>
                <a:gd name="connsiteX3" fmla="*/ 54721 w 1605275"/>
                <a:gd name="connsiteY3" fmla="*/ 0 h 257442"/>
                <a:gd name="connsiteX0" fmla="*/ 1605275 w 1605275"/>
                <a:gd name="connsiteY0" fmla="*/ 0 h 257442"/>
                <a:gd name="connsiteX1" fmla="*/ 1550554 w 1605275"/>
                <a:gd name="connsiteY1" fmla="*/ 257442 h 257442"/>
                <a:gd name="connsiteX2" fmla="*/ 0 w 1605275"/>
                <a:gd name="connsiteY2" fmla="*/ 257442 h 257442"/>
                <a:gd name="connsiteX3" fmla="*/ 54721 w 1605275"/>
                <a:gd name="connsiteY3" fmla="*/ 0 h 257442"/>
                <a:gd name="connsiteX0" fmla="*/ 1605275 w 1605275"/>
                <a:gd name="connsiteY0" fmla="*/ 0 h 257442"/>
                <a:gd name="connsiteX1" fmla="*/ 1550554 w 1605275"/>
                <a:gd name="connsiteY1" fmla="*/ 257442 h 257442"/>
                <a:gd name="connsiteX2" fmla="*/ 0 w 1605275"/>
                <a:gd name="connsiteY2" fmla="*/ 257442 h 257442"/>
                <a:gd name="connsiteX3" fmla="*/ 54721 w 1605275"/>
                <a:gd name="connsiteY3" fmla="*/ 0 h 257442"/>
                <a:gd name="connsiteX0" fmla="*/ 1605275 w 1605275"/>
                <a:gd name="connsiteY0" fmla="*/ 0 h 257442"/>
                <a:gd name="connsiteX1" fmla="*/ 1550554 w 1605275"/>
                <a:gd name="connsiteY1" fmla="*/ 257442 h 257442"/>
                <a:gd name="connsiteX2" fmla="*/ 0 w 1605275"/>
                <a:gd name="connsiteY2" fmla="*/ 257442 h 257442"/>
                <a:gd name="connsiteX3" fmla="*/ 54721 w 1605275"/>
                <a:gd name="connsiteY3" fmla="*/ 0 h 257442"/>
                <a:gd name="connsiteX0" fmla="*/ 1436960 w 1550554"/>
                <a:gd name="connsiteY0" fmla="*/ 0 h 257442"/>
                <a:gd name="connsiteX1" fmla="*/ 1550554 w 1550554"/>
                <a:gd name="connsiteY1" fmla="*/ 257442 h 257442"/>
                <a:gd name="connsiteX2" fmla="*/ 0 w 1550554"/>
                <a:gd name="connsiteY2" fmla="*/ 257442 h 257442"/>
                <a:gd name="connsiteX3" fmla="*/ 54721 w 1550554"/>
                <a:gd name="connsiteY3" fmla="*/ 0 h 257442"/>
                <a:gd name="connsiteX0" fmla="*/ 1436960 w 1436960"/>
                <a:gd name="connsiteY0" fmla="*/ 0 h 257442"/>
                <a:gd name="connsiteX1" fmla="*/ 1382239 w 1436960"/>
                <a:gd name="connsiteY1" fmla="*/ 257442 h 257442"/>
                <a:gd name="connsiteX2" fmla="*/ 0 w 1436960"/>
                <a:gd name="connsiteY2" fmla="*/ 257442 h 257442"/>
                <a:gd name="connsiteX3" fmla="*/ 54721 w 1436960"/>
                <a:gd name="connsiteY3" fmla="*/ 0 h 257442"/>
                <a:gd name="connsiteX0" fmla="*/ 1436960 w 1436960"/>
                <a:gd name="connsiteY0" fmla="*/ 0 h 257442"/>
                <a:gd name="connsiteX1" fmla="*/ 1382239 w 1436960"/>
                <a:gd name="connsiteY1" fmla="*/ 257442 h 257442"/>
                <a:gd name="connsiteX2" fmla="*/ 0 w 1436960"/>
                <a:gd name="connsiteY2" fmla="*/ 257442 h 257442"/>
                <a:gd name="connsiteX3" fmla="*/ 54721 w 1436960"/>
                <a:gd name="connsiteY3" fmla="*/ 0 h 257442"/>
                <a:gd name="connsiteX0" fmla="*/ 1436960 w 1436960"/>
                <a:gd name="connsiteY0" fmla="*/ 0 h 257442"/>
                <a:gd name="connsiteX1" fmla="*/ 1382239 w 1436960"/>
                <a:gd name="connsiteY1" fmla="*/ 257442 h 257442"/>
                <a:gd name="connsiteX2" fmla="*/ 0 w 1436960"/>
                <a:gd name="connsiteY2" fmla="*/ 257442 h 257442"/>
                <a:gd name="connsiteX3" fmla="*/ 54721 w 1436960"/>
                <a:gd name="connsiteY3" fmla="*/ 0 h 257442"/>
                <a:gd name="connsiteX0" fmla="*/ 1276660 w 1382239"/>
                <a:gd name="connsiteY0" fmla="*/ 0 h 257442"/>
                <a:gd name="connsiteX1" fmla="*/ 1382239 w 1382239"/>
                <a:gd name="connsiteY1" fmla="*/ 257442 h 257442"/>
                <a:gd name="connsiteX2" fmla="*/ 0 w 1382239"/>
                <a:gd name="connsiteY2" fmla="*/ 257442 h 257442"/>
                <a:gd name="connsiteX3" fmla="*/ 54721 w 1382239"/>
                <a:gd name="connsiteY3" fmla="*/ 0 h 257442"/>
                <a:gd name="connsiteX0" fmla="*/ 1276660 w 1276660"/>
                <a:gd name="connsiteY0" fmla="*/ 0 h 257442"/>
                <a:gd name="connsiteX1" fmla="*/ 1221940 w 1276660"/>
                <a:gd name="connsiteY1" fmla="*/ 257442 h 257442"/>
                <a:gd name="connsiteX2" fmla="*/ 0 w 1276660"/>
                <a:gd name="connsiteY2" fmla="*/ 257442 h 257442"/>
                <a:gd name="connsiteX3" fmla="*/ 54721 w 1276660"/>
                <a:gd name="connsiteY3" fmla="*/ 0 h 257442"/>
                <a:gd name="connsiteX0" fmla="*/ 1276659 w 1276659"/>
                <a:gd name="connsiteY0" fmla="*/ 0 h 257442"/>
                <a:gd name="connsiteX1" fmla="*/ 1221939 w 1276659"/>
                <a:gd name="connsiteY1" fmla="*/ 257442 h 257442"/>
                <a:gd name="connsiteX2" fmla="*/ 0 w 1276659"/>
                <a:gd name="connsiteY2" fmla="*/ 257442 h 257442"/>
                <a:gd name="connsiteX3" fmla="*/ 54720 w 1276659"/>
                <a:gd name="connsiteY3" fmla="*/ 0 h 257442"/>
                <a:gd name="connsiteX0" fmla="*/ 1276659 w 1276659"/>
                <a:gd name="connsiteY0" fmla="*/ 0 h 257442"/>
                <a:gd name="connsiteX1" fmla="*/ 1221939 w 1276659"/>
                <a:gd name="connsiteY1" fmla="*/ 257442 h 257442"/>
                <a:gd name="connsiteX2" fmla="*/ 0 w 1276659"/>
                <a:gd name="connsiteY2" fmla="*/ 257442 h 257442"/>
                <a:gd name="connsiteX3" fmla="*/ 54721 w 1276659"/>
                <a:gd name="connsiteY3" fmla="*/ 0 h 257442"/>
                <a:gd name="connsiteX0" fmla="*/ 1119116 w 1221939"/>
                <a:gd name="connsiteY0" fmla="*/ 0 h 257442"/>
                <a:gd name="connsiteX1" fmla="*/ 1221939 w 1221939"/>
                <a:gd name="connsiteY1" fmla="*/ 257442 h 257442"/>
                <a:gd name="connsiteX2" fmla="*/ 0 w 1221939"/>
                <a:gd name="connsiteY2" fmla="*/ 257442 h 257442"/>
                <a:gd name="connsiteX3" fmla="*/ 54721 w 1221939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97050 w 1297050"/>
                <a:gd name="connsiteY0" fmla="*/ 0 h 257442"/>
                <a:gd name="connsiteX1" fmla="*/ 1064395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297050 w 1402629"/>
                <a:gd name="connsiteY0" fmla="*/ 0 h 257442"/>
                <a:gd name="connsiteX1" fmla="*/ 1402629 w 1402629"/>
                <a:gd name="connsiteY1" fmla="*/ 257442 h 257442"/>
                <a:gd name="connsiteX2" fmla="*/ 0 w 1402629"/>
                <a:gd name="connsiteY2" fmla="*/ 257442 h 257442"/>
                <a:gd name="connsiteX3" fmla="*/ 54721 w 1402629"/>
                <a:gd name="connsiteY3" fmla="*/ 0 h 257442"/>
                <a:gd name="connsiteX0" fmla="*/ 1297050 w 1297050"/>
                <a:gd name="connsiteY0" fmla="*/ 0 h 257442"/>
                <a:gd name="connsiteX1" fmla="*/ 1242330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49 w 1297049"/>
                <a:gd name="connsiteY0" fmla="*/ 0 h 257442"/>
                <a:gd name="connsiteX1" fmla="*/ 1242329 w 1297049"/>
                <a:gd name="connsiteY1" fmla="*/ 257442 h 257442"/>
                <a:gd name="connsiteX2" fmla="*/ 0 w 1297049"/>
                <a:gd name="connsiteY2" fmla="*/ 257442 h 257442"/>
                <a:gd name="connsiteX3" fmla="*/ 54720 w 1297049"/>
                <a:gd name="connsiteY3" fmla="*/ 0 h 257442"/>
                <a:gd name="connsiteX0" fmla="*/ 1297049 w 1297049"/>
                <a:gd name="connsiteY0" fmla="*/ 0 h 257442"/>
                <a:gd name="connsiteX1" fmla="*/ 1242329 w 1297049"/>
                <a:gd name="connsiteY1" fmla="*/ 257442 h 257442"/>
                <a:gd name="connsiteX2" fmla="*/ 0 w 1297049"/>
                <a:gd name="connsiteY2" fmla="*/ 257442 h 257442"/>
                <a:gd name="connsiteX3" fmla="*/ 54721 w 1297049"/>
                <a:gd name="connsiteY3" fmla="*/ 0 h 257442"/>
                <a:gd name="connsiteX0" fmla="*/ 1119116 w 1242329"/>
                <a:gd name="connsiteY0" fmla="*/ 0 h 257442"/>
                <a:gd name="connsiteX1" fmla="*/ 1242329 w 1242329"/>
                <a:gd name="connsiteY1" fmla="*/ 257442 h 257442"/>
                <a:gd name="connsiteX2" fmla="*/ 0 w 1242329"/>
                <a:gd name="connsiteY2" fmla="*/ 257442 h 257442"/>
                <a:gd name="connsiteX3" fmla="*/ 54721 w 1242329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380406 w 1380406"/>
                <a:gd name="connsiteY0" fmla="*/ 0 h 257442"/>
                <a:gd name="connsiteX1" fmla="*/ 1064395 w 1380406"/>
                <a:gd name="connsiteY1" fmla="*/ 257442 h 257442"/>
                <a:gd name="connsiteX2" fmla="*/ 0 w 1380406"/>
                <a:gd name="connsiteY2" fmla="*/ 257442 h 257442"/>
                <a:gd name="connsiteX3" fmla="*/ 54721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54721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54721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54721 w 1380406"/>
                <a:gd name="connsiteY3" fmla="*/ 0 h 257442"/>
                <a:gd name="connsiteX0" fmla="*/ 1540706 w 1540706"/>
                <a:gd name="connsiteY0" fmla="*/ 0 h 257442"/>
                <a:gd name="connsiteX1" fmla="*/ 1325685 w 1540706"/>
                <a:gd name="connsiteY1" fmla="*/ 257442 h 257442"/>
                <a:gd name="connsiteX2" fmla="*/ 0 w 1540706"/>
                <a:gd name="connsiteY2" fmla="*/ 257442 h 257442"/>
                <a:gd name="connsiteX3" fmla="*/ 54721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54721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54721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54721 w 1540706"/>
                <a:gd name="connsiteY3" fmla="*/ 0 h 257442"/>
                <a:gd name="connsiteX0" fmla="*/ 1709021 w 1709021"/>
                <a:gd name="connsiteY0" fmla="*/ 0 h 257442"/>
                <a:gd name="connsiteX1" fmla="*/ 1485985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869321 w 1869321"/>
                <a:gd name="connsiteY0" fmla="*/ 0 h 257442"/>
                <a:gd name="connsiteX1" fmla="*/ 16543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9321" h="257442">
                  <a:moveTo>
                    <a:pt x="1869321" y="0"/>
                  </a:moveTo>
                  <a:lnTo>
                    <a:pt x="1814600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9" name="btfpRunningAgenda2LevelTextRight875286">
              <a:extLst>
                <a:ext uri="{FF2B5EF4-FFF2-40B4-BE49-F238E27FC236}">
                  <a16:creationId xmlns:a16="http://schemas.microsoft.com/office/drawing/2014/main" id="{B9BC9ADE-331B-F279-9871-299BCF9BBFA3}"/>
                </a:ext>
              </a:extLst>
            </p:cNvPr>
            <p:cNvSpPr txBox="1"/>
            <p:nvPr/>
          </p:nvSpPr>
          <p:spPr bwMode="gray">
            <a:xfrm>
              <a:off x="3515416" y="876300"/>
              <a:ext cx="181460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drivers</a:t>
              </a:r>
            </a:p>
          </p:txBody>
        </p:sp>
      </p:grp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4E67C1DF-8C6C-18CB-D309-D37636251366}"/>
              </a:ext>
            </a:extLst>
          </p:cNvPr>
          <p:cNvCxnSpPr>
            <a:cxnSpLocks/>
          </p:cNvCxnSpPr>
          <p:nvPr/>
        </p:nvCxnSpPr>
        <p:spPr bwMode="gray">
          <a:xfrm>
            <a:off x="5443984" y="2982694"/>
            <a:ext cx="637843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E9FE126-A00F-5DB9-5D21-C25DB1BB22B9}"/>
              </a:ext>
            </a:extLst>
          </p:cNvPr>
          <p:cNvCxnSpPr>
            <a:cxnSpLocks/>
          </p:cNvCxnSpPr>
          <p:nvPr/>
        </p:nvCxnSpPr>
        <p:spPr bwMode="gray">
          <a:xfrm>
            <a:off x="5443984" y="3459478"/>
            <a:ext cx="637843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A3F297E-3498-7704-FCF0-663E49C04B8B}"/>
              </a:ext>
            </a:extLst>
          </p:cNvPr>
          <p:cNvCxnSpPr>
            <a:cxnSpLocks/>
          </p:cNvCxnSpPr>
          <p:nvPr/>
        </p:nvCxnSpPr>
        <p:spPr bwMode="gray">
          <a:xfrm>
            <a:off x="5443984" y="3936262"/>
            <a:ext cx="637843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FD3DCAA-3BD9-6BB0-5A48-4D396614CB05}"/>
              </a:ext>
            </a:extLst>
          </p:cNvPr>
          <p:cNvCxnSpPr>
            <a:cxnSpLocks/>
          </p:cNvCxnSpPr>
          <p:nvPr/>
        </p:nvCxnSpPr>
        <p:spPr bwMode="gray">
          <a:xfrm>
            <a:off x="5443984" y="4413046"/>
            <a:ext cx="637843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9EDD912-36A9-A584-AB63-E0367A8305E8}"/>
              </a:ext>
            </a:extLst>
          </p:cNvPr>
          <p:cNvCxnSpPr>
            <a:cxnSpLocks/>
          </p:cNvCxnSpPr>
          <p:nvPr/>
        </p:nvCxnSpPr>
        <p:spPr bwMode="gray">
          <a:xfrm>
            <a:off x="5443984" y="4889830"/>
            <a:ext cx="637843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CA706AA6-9AE1-D8DB-1AAB-9731D39CE2F2}"/>
              </a:ext>
            </a:extLst>
          </p:cNvPr>
          <p:cNvCxnSpPr>
            <a:cxnSpLocks/>
          </p:cNvCxnSpPr>
          <p:nvPr/>
        </p:nvCxnSpPr>
        <p:spPr bwMode="gray">
          <a:xfrm>
            <a:off x="5443984" y="5366614"/>
            <a:ext cx="637843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E054866B-6503-1C38-22B0-378AAE13F7E0}"/>
              </a:ext>
            </a:extLst>
          </p:cNvPr>
          <p:cNvCxnSpPr>
            <a:cxnSpLocks/>
          </p:cNvCxnSpPr>
          <p:nvPr/>
        </p:nvCxnSpPr>
        <p:spPr bwMode="gray">
          <a:xfrm>
            <a:off x="5443984" y="5843399"/>
            <a:ext cx="637843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8B0BCD6E-A411-BB93-2F3E-4C51253403FC}"/>
              </a:ext>
            </a:extLst>
          </p:cNvPr>
          <p:cNvSpPr txBox="1"/>
          <p:nvPr/>
        </p:nvSpPr>
        <p:spPr bwMode="gray">
          <a:xfrm>
            <a:off x="7659422" y="2304380"/>
            <a:ext cx="403743" cy="21120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>
                <a:solidFill>
                  <a:srgbClr val="C00000"/>
                </a:solidFill>
              </a:rPr>
              <a:t>-50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78D829E-FD19-56C7-FC6D-509C57FF8751}"/>
              </a:ext>
            </a:extLst>
          </p:cNvPr>
          <p:cNvSpPr txBox="1"/>
          <p:nvPr/>
        </p:nvSpPr>
        <p:spPr bwMode="gray">
          <a:xfrm>
            <a:off x="8295314" y="2304380"/>
            <a:ext cx="403743" cy="21120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>
                <a:solidFill>
                  <a:srgbClr val="C00000"/>
                </a:solidFill>
              </a:rPr>
              <a:t>-25%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9A9F302-F608-85A0-1E60-684E5AED1D7F}"/>
              </a:ext>
            </a:extLst>
          </p:cNvPr>
          <p:cNvGrpSpPr/>
          <p:nvPr/>
        </p:nvGrpSpPr>
        <p:grpSpPr>
          <a:xfrm>
            <a:off x="7429389" y="2041043"/>
            <a:ext cx="4427230" cy="182697"/>
            <a:chOff x="7388199" y="2141168"/>
            <a:chExt cx="4427230" cy="182697"/>
          </a:xfrm>
        </p:grpSpPr>
        <p:sp>
          <p:nvSpPr>
            <p:cNvPr id="83" name="Isosceles Triangle 82">
              <a:extLst>
                <a:ext uri="{FF2B5EF4-FFF2-40B4-BE49-F238E27FC236}">
                  <a16:creationId xmlns:a16="http://schemas.microsoft.com/office/drawing/2014/main" id="{EE4B7C04-CDA4-4631-A235-680077FBE26D}"/>
                </a:ext>
              </a:extLst>
            </p:cNvPr>
            <p:cNvSpPr/>
            <p:nvPr/>
          </p:nvSpPr>
          <p:spPr bwMode="gray">
            <a:xfrm rot="16200000">
              <a:off x="9470017" y="71781"/>
              <a:ext cx="170266" cy="4333901"/>
            </a:xfrm>
            <a:prstGeom prst="triangle">
              <a:avLst>
                <a:gd name="adj" fmla="val 49999"/>
              </a:avLst>
            </a:prstGeom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chemeClr val="accent3">
                    <a:lumMod val="100000"/>
                  </a:schemeClr>
                </a:gs>
              </a:gsLst>
              <a:lin ang="5400000" scaled="1"/>
              <a:tileRect/>
            </a:gra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9" name="btfpNumberBubble887755">
              <a:extLst>
                <a:ext uri="{FF2B5EF4-FFF2-40B4-BE49-F238E27FC236}">
                  <a16:creationId xmlns:a16="http://schemas.microsoft.com/office/drawing/2014/main" id="{34CEBBF7-F86F-89FC-9810-32D28AC141E0}"/>
                </a:ext>
              </a:extLst>
            </p:cNvPr>
            <p:cNvSpPr/>
            <p:nvPr/>
          </p:nvSpPr>
          <p:spPr bwMode="gray">
            <a:xfrm>
              <a:off x="7418295" y="2141168"/>
              <a:ext cx="182292" cy="18229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000" b="1">
                  <a:solidFill>
                    <a:srgbClr val="CC0000"/>
                  </a:solidFill>
                </a:rPr>
                <a:t>-</a:t>
              </a:r>
            </a:p>
          </p:txBody>
        </p:sp>
        <p:sp>
          <p:nvSpPr>
            <p:cNvPr id="33" name="btfpNumberBubble887755">
              <a:extLst>
                <a:ext uri="{FF2B5EF4-FFF2-40B4-BE49-F238E27FC236}">
                  <a16:creationId xmlns:a16="http://schemas.microsoft.com/office/drawing/2014/main" id="{84F3FC1F-2CCA-4077-E953-058035389C8F}"/>
                </a:ext>
              </a:extLst>
            </p:cNvPr>
            <p:cNvSpPr/>
            <p:nvPr/>
          </p:nvSpPr>
          <p:spPr bwMode="gray">
            <a:xfrm>
              <a:off x="11633137" y="2141168"/>
              <a:ext cx="182292" cy="18229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000" b="1">
                  <a:solidFill>
                    <a:srgbClr val="CC0000"/>
                  </a:solidFill>
                </a:rPr>
                <a:t>+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FDE8427-ABAF-641B-747F-E16F8969C3FD}"/>
              </a:ext>
            </a:extLst>
          </p:cNvPr>
          <p:cNvGrpSpPr/>
          <p:nvPr/>
        </p:nvGrpSpPr>
        <p:grpSpPr>
          <a:xfrm rot="16200000">
            <a:off x="-1356500" y="4210117"/>
            <a:ext cx="3513790" cy="182698"/>
            <a:chOff x="8301639" y="2141167"/>
            <a:chExt cx="3513790" cy="182698"/>
          </a:xfrm>
        </p:grpSpPr>
        <p:sp>
          <p:nvSpPr>
            <p:cNvPr id="46" name="Isosceles Triangle 45">
              <a:extLst>
                <a:ext uri="{FF2B5EF4-FFF2-40B4-BE49-F238E27FC236}">
                  <a16:creationId xmlns:a16="http://schemas.microsoft.com/office/drawing/2014/main" id="{6749AE5E-1A95-1D18-F1B6-69B4B78D913B}"/>
                </a:ext>
              </a:extLst>
            </p:cNvPr>
            <p:cNvSpPr/>
            <p:nvPr/>
          </p:nvSpPr>
          <p:spPr bwMode="gray">
            <a:xfrm rot="16200000">
              <a:off x="9920522" y="522285"/>
              <a:ext cx="182697" cy="3420463"/>
            </a:xfrm>
            <a:prstGeom prst="triangle">
              <a:avLst>
                <a:gd name="adj" fmla="val 49999"/>
              </a:avLst>
            </a:prstGeom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chemeClr val="accent3">
                    <a:lumMod val="100000"/>
                  </a:schemeClr>
                </a:gs>
              </a:gsLst>
              <a:lin ang="5400000" scaled="1"/>
              <a:tileRect/>
            </a:gra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7" name="btfpNumberBubble887755">
              <a:extLst>
                <a:ext uri="{FF2B5EF4-FFF2-40B4-BE49-F238E27FC236}">
                  <a16:creationId xmlns:a16="http://schemas.microsoft.com/office/drawing/2014/main" id="{1F77992C-D7AC-4744-7E25-D4DC05C2997C}"/>
                </a:ext>
              </a:extLst>
            </p:cNvPr>
            <p:cNvSpPr/>
            <p:nvPr/>
          </p:nvSpPr>
          <p:spPr bwMode="gray">
            <a:xfrm rot="16200000">
              <a:off x="8335431" y="2141167"/>
              <a:ext cx="182292" cy="18229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000" b="1">
                  <a:solidFill>
                    <a:srgbClr val="CC0000"/>
                  </a:solidFill>
                </a:rPr>
                <a:t>-</a:t>
              </a:r>
            </a:p>
          </p:txBody>
        </p:sp>
        <p:sp>
          <p:nvSpPr>
            <p:cNvPr id="63" name="btfpNumberBubble887755">
              <a:extLst>
                <a:ext uri="{FF2B5EF4-FFF2-40B4-BE49-F238E27FC236}">
                  <a16:creationId xmlns:a16="http://schemas.microsoft.com/office/drawing/2014/main" id="{E3104FEB-0735-389D-6D76-6D5F2FED1D6C}"/>
                </a:ext>
              </a:extLst>
            </p:cNvPr>
            <p:cNvSpPr/>
            <p:nvPr/>
          </p:nvSpPr>
          <p:spPr bwMode="gray">
            <a:xfrm>
              <a:off x="11633137" y="2141168"/>
              <a:ext cx="182292" cy="18229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000" b="1">
                  <a:solidFill>
                    <a:srgbClr val="CC0000"/>
                  </a:solidFill>
                </a:rPr>
                <a:t>+</a:t>
              </a:r>
            </a:p>
          </p:txBody>
        </p:sp>
      </p:grp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58795829-AAFA-5A11-2FDE-73BD7D7A16F1}"/>
              </a:ext>
            </a:extLst>
          </p:cNvPr>
          <p:cNvCxnSpPr/>
          <p:nvPr/>
        </p:nvCxnSpPr>
        <p:spPr bwMode="gray">
          <a:xfrm>
            <a:off x="7727721" y="2512385"/>
            <a:ext cx="7887" cy="3326472"/>
          </a:xfrm>
          <a:prstGeom prst="line">
            <a:avLst/>
          </a:prstGeom>
          <a:ln w="3175" cap="flat">
            <a:solidFill>
              <a:schemeClr val="accent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C1CFD902-C0DF-7148-1534-DFC590D0DAD6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12" y="950918"/>
            <a:ext cx="257175" cy="2502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417370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8F7D9A2A-940D-44AF-5259-B7C96479DC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0707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60" imgH="360" progId="TCLayout.ActiveDocument.1">
                  <p:embed/>
                </p:oleObj>
              </mc:Choice>
              <mc:Fallback>
                <p:oleObj name="think-cell Slide" r:id="rId40" imgW="360" imgH="36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7D9A2A-940D-44AF-5259-B7C96479D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btfpQuoteBox701730">
            <a:extLst>
              <a:ext uri="{FF2B5EF4-FFF2-40B4-BE49-F238E27FC236}">
                <a16:creationId xmlns:a16="http://schemas.microsoft.com/office/drawing/2014/main" id="{218714F0-8CD2-C696-74E3-7DAC54B85EB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5209591" y="2687122"/>
            <a:ext cx="654912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You know you’re working with a good vendor when they </a:t>
            </a:r>
            <a:r>
              <a:rPr kumimoji="0" lang="en-US" sz="900" b="1" i="1" u="none" strike="noStrike" kern="1200" cap="none" spc="0" normalizeH="0" baseline="0" noProof="0" dirty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e great at communicating with you at all levels of their org. </a:t>
            </a:r>
            <a:r>
              <a:rPr lang="en-US" sz="900" b="1" i="1" dirty="0">
                <a:solidFill>
                  <a:srgbClr val="507867"/>
                </a:solidFill>
                <a:latin typeface="Arial"/>
              </a:rPr>
              <a:t>Target</a:t>
            </a:r>
            <a:r>
              <a:rPr kumimoji="0" lang="en-US" sz="900" b="1" i="1" u="none" strike="noStrike" kern="1200" cap="none" spc="0" normalizeH="0" baseline="0" noProof="0" dirty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upplied skilled personnel to our facility who could get the job done</a:t>
            </a:r>
            <a:r>
              <a:rPr kumimoji="0" lang="en-US" sz="9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on time and on the day promised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r>
              <a:rPr kumimoji="0" lang="en-US" sz="900" b="1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”</a:t>
            </a:r>
          </a:p>
        </p:txBody>
      </p:sp>
      <p:sp>
        <p:nvSpPr>
          <p:cNvPr id="150" name="btfpQuoteBox701730">
            <a:extLst>
              <a:ext uri="{FF2B5EF4-FFF2-40B4-BE49-F238E27FC236}">
                <a16:creationId xmlns:a16="http://schemas.microsoft.com/office/drawing/2014/main" id="{5604F37A-C610-44E7-9743-819DB18994C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5209591" y="1647647"/>
            <a:ext cx="654912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These guys deliver. 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matter what the problem is, if it's fire related, they have you covered. The technicians that come on site are polite and respectful. </a:t>
            </a: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if they don't have the part or information you need with them they get it immediately.”</a:t>
            </a:r>
          </a:p>
        </p:txBody>
      </p:sp>
      <p:sp>
        <p:nvSpPr>
          <p:cNvPr id="25" name="btfpQuoteBox701730">
            <a:extLst>
              <a:ext uri="{FF2B5EF4-FFF2-40B4-BE49-F238E27FC236}">
                <a16:creationId xmlns:a16="http://schemas.microsoft.com/office/drawing/2014/main" id="{872DA36C-CC69-D2EB-F891-AC99769E91C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5209591" y="3289352"/>
            <a:ext cx="6549120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at service! Recertified my equipment at my shop. So convenient</a:t>
            </a:r>
            <a:r>
              <a:rPr kumimoji="0" lang="en-US" sz="90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!.</a:t>
            </a:r>
            <a:r>
              <a:rPr lang="en-US" sz="900" i="1">
                <a:latin typeface="Arial"/>
              </a:rPr>
              <a:t>”</a:t>
            </a:r>
            <a:endParaRPr kumimoji="0" lang="en-US" sz="900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4" name="btfpRowHeaderBox136256">
            <a:extLst>
              <a:ext uri="{FF2B5EF4-FFF2-40B4-BE49-F238E27FC236}">
                <a16:creationId xmlns:a16="http://schemas.microsoft.com/office/drawing/2014/main" id="{0694CEDD-9BB0-41C9-B0A3-8D4DCD2C99D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930843" y="3784297"/>
            <a:ext cx="1225155" cy="756052"/>
            <a:chOff x="-1182322" y="1787519"/>
            <a:chExt cx="2540000" cy="1387830"/>
          </a:xfrm>
        </p:grpSpPr>
        <p:sp>
          <p:nvSpPr>
            <p:cNvPr id="156" name="btfpRowHeaderBoxText136256">
              <a:extLst>
                <a:ext uri="{FF2B5EF4-FFF2-40B4-BE49-F238E27FC236}">
                  <a16:creationId xmlns:a16="http://schemas.microsoft.com/office/drawing/2014/main" id="{80F13E6D-608A-4562-A7E1-8CF43B14B2C7}"/>
                </a:ext>
              </a:extLst>
            </p:cNvPr>
            <p:cNvSpPr txBox="1"/>
            <p:nvPr/>
          </p:nvSpPr>
          <p:spPr bwMode="gray">
            <a:xfrm>
              <a:off x="-1182322" y="1787519"/>
              <a:ext cx="2540000" cy="1387830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meliness &amp; punctuality</a:t>
              </a:r>
            </a:p>
          </p:txBody>
        </p:sp>
        <p:cxnSp>
          <p:nvCxnSpPr>
            <p:cNvPr id="157" name="btfpRowHeaderBoxLine136256">
              <a:extLst>
                <a:ext uri="{FF2B5EF4-FFF2-40B4-BE49-F238E27FC236}">
                  <a16:creationId xmlns:a16="http://schemas.microsoft.com/office/drawing/2014/main" id="{9F4B29D0-BAB8-442B-8EC4-379D88FA8E07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1341457" y="1787519"/>
              <a:ext cx="19" cy="1387830"/>
            </a:xfrm>
            <a:prstGeom prst="line">
              <a:avLst/>
            </a:prstGeom>
            <a:ln w="762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9" name="btfpRowHeaderBox136256">
            <a:extLst>
              <a:ext uri="{FF2B5EF4-FFF2-40B4-BE49-F238E27FC236}">
                <a16:creationId xmlns:a16="http://schemas.microsoft.com/office/drawing/2014/main" id="{12FE9146-3CBE-453D-A648-3F2E5252109B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930843" y="1669295"/>
            <a:ext cx="1225155" cy="996492"/>
            <a:chOff x="-1182322" y="1745022"/>
            <a:chExt cx="2540000" cy="2359427"/>
          </a:xfrm>
        </p:grpSpPr>
        <p:sp>
          <p:nvSpPr>
            <p:cNvPr id="151" name="btfpRowHeaderBoxText136256">
              <a:extLst>
                <a:ext uri="{FF2B5EF4-FFF2-40B4-BE49-F238E27FC236}">
                  <a16:creationId xmlns:a16="http://schemas.microsoft.com/office/drawing/2014/main" id="{C5EE0586-0ED7-4D13-BEF0-2CA285E0916E}"/>
                </a:ext>
              </a:extLst>
            </p:cNvPr>
            <p:cNvSpPr txBox="1"/>
            <p:nvPr/>
          </p:nvSpPr>
          <p:spPr bwMode="gray">
            <a:xfrm>
              <a:off x="-1182322" y="1745022"/>
              <a:ext cx="2540000" cy="2359427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aff professionalism / friendliness</a:t>
              </a:r>
            </a:p>
          </p:txBody>
        </p:sp>
        <p:cxnSp>
          <p:nvCxnSpPr>
            <p:cNvPr id="152" name="btfpRowHeaderBoxLine136256">
              <a:extLst>
                <a:ext uri="{FF2B5EF4-FFF2-40B4-BE49-F238E27FC236}">
                  <a16:creationId xmlns:a16="http://schemas.microsoft.com/office/drawing/2014/main" id="{7C87AE05-F9E1-4C42-AC4E-BC1498D1A4DC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1352097" y="1745022"/>
              <a:ext cx="0" cy="2359427"/>
            </a:xfrm>
            <a:prstGeom prst="line">
              <a:avLst/>
            </a:prstGeom>
            <a:ln w="762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btfpRowHeaderBox136256">
            <a:extLst>
              <a:ext uri="{FF2B5EF4-FFF2-40B4-BE49-F238E27FC236}">
                <a16:creationId xmlns:a16="http://schemas.microsoft.com/office/drawing/2014/main" id="{FF8B60D2-47BF-C7FF-61E5-D589040BAFE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3930843" y="2717300"/>
            <a:ext cx="1225155" cy="1015484"/>
            <a:chOff x="-1182322" y="1587470"/>
            <a:chExt cx="2900299" cy="1370566"/>
          </a:xfrm>
        </p:grpSpPr>
        <p:sp>
          <p:nvSpPr>
            <p:cNvPr id="71" name="btfpRowHeaderBoxText136256">
              <a:extLst>
                <a:ext uri="{FF2B5EF4-FFF2-40B4-BE49-F238E27FC236}">
                  <a16:creationId xmlns:a16="http://schemas.microsoft.com/office/drawing/2014/main" id="{423D9EB8-88DD-9B0D-EBB3-90857A1EF48C}"/>
                </a:ext>
              </a:extLst>
            </p:cNvPr>
            <p:cNvSpPr txBox="1"/>
            <p:nvPr/>
          </p:nvSpPr>
          <p:spPr bwMode="gray">
            <a:xfrm>
              <a:off x="-1182322" y="1587470"/>
              <a:ext cx="2900299" cy="1370566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verall customer service</a:t>
              </a:r>
            </a:p>
          </p:txBody>
        </p:sp>
        <p:cxnSp>
          <p:nvCxnSpPr>
            <p:cNvPr id="72" name="btfpRowHeaderBoxLine136256">
              <a:extLst>
                <a:ext uri="{FF2B5EF4-FFF2-40B4-BE49-F238E27FC236}">
                  <a16:creationId xmlns:a16="http://schemas.microsoft.com/office/drawing/2014/main" id="{61377234-2E92-44B0-519A-EADFAC4EBD7E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1710470" y="1587470"/>
              <a:ext cx="19" cy="1370566"/>
            </a:xfrm>
            <a:prstGeom prst="line">
              <a:avLst/>
            </a:prstGeom>
            <a:ln w="762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btfpQuoteBox701730">
            <a:extLst>
              <a:ext uri="{FF2B5EF4-FFF2-40B4-BE49-F238E27FC236}">
                <a16:creationId xmlns:a16="http://schemas.microsoft.com/office/drawing/2014/main" id="{6302D853-964E-515E-EEA9-155E11FE1BFC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5209591" y="2286347"/>
            <a:ext cx="6549120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 dirty="0">
                <a:solidFill>
                  <a:srgbClr val="000000"/>
                </a:solidFill>
                <a:latin typeface="Arial"/>
              </a:rPr>
              <a:t>“</a:t>
            </a:r>
            <a:r>
              <a:rPr lang="en-US" sz="900" b="1" i="1" dirty="0">
                <a:solidFill>
                  <a:srgbClr val="507867"/>
                </a:solidFill>
                <a:latin typeface="Arial"/>
              </a:rPr>
              <a:t>Simply put Target has the best people. Everyone on the team strives for best in class performance </a:t>
            </a:r>
            <a:r>
              <a:rPr lang="en-US" sz="900" i="1" dirty="0">
                <a:solidFill>
                  <a:srgbClr val="000000"/>
                </a:solidFill>
                <a:latin typeface="Arial"/>
              </a:rPr>
              <a:t>day in and day out.”</a:t>
            </a:r>
            <a:endParaRPr kumimoji="0" lang="en-US" sz="90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2" name="btfpColumnIndicatorGroup2">
            <a:extLst>
              <a:ext uri="{FF2B5EF4-FFF2-40B4-BE49-F238E27FC236}">
                <a16:creationId xmlns:a16="http://schemas.microsoft.com/office/drawing/2014/main" id="{52358970-999C-5A7D-AE74-81395276E76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6" name="btfpColumnGapBlocker714813">
              <a:extLst>
                <a:ext uri="{FF2B5EF4-FFF2-40B4-BE49-F238E27FC236}">
                  <a16:creationId xmlns:a16="http://schemas.microsoft.com/office/drawing/2014/main" id="{469CC0D3-8978-20CB-47DC-5130D456359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btfpColumnGapBlocker252074">
              <a:extLst>
                <a:ext uri="{FF2B5EF4-FFF2-40B4-BE49-F238E27FC236}">
                  <a16:creationId xmlns:a16="http://schemas.microsoft.com/office/drawing/2014/main" id="{3639743F-2D87-18CD-98F5-E7BC0FFE655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7" name="btfpColumnIndicator554237">
              <a:extLst>
                <a:ext uri="{FF2B5EF4-FFF2-40B4-BE49-F238E27FC236}">
                  <a16:creationId xmlns:a16="http://schemas.microsoft.com/office/drawing/2014/main" id="{7126B521-35BE-AEA6-A8EB-2CDFA88792F5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202033">
              <a:extLst>
                <a:ext uri="{FF2B5EF4-FFF2-40B4-BE49-F238E27FC236}">
                  <a16:creationId xmlns:a16="http://schemas.microsoft.com/office/drawing/2014/main" id="{AEC6E56E-E47A-FF12-5709-24316CB75A6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btfpColumnIndicatorGroup1">
            <a:extLst>
              <a:ext uri="{FF2B5EF4-FFF2-40B4-BE49-F238E27FC236}">
                <a16:creationId xmlns:a16="http://schemas.microsoft.com/office/drawing/2014/main" id="{BE8FBA66-A244-67E7-4EE5-0E6DB2476D5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4" name="btfpColumnGapBlocker315596">
              <a:extLst>
                <a:ext uri="{FF2B5EF4-FFF2-40B4-BE49-F238E27FC236}">
                  <a16:creationId xmlns:a16="http://schemas.microsoft.com/office/drawing/2014/main" id="{6BB7CDFC-ACBF-0D7B-FC62-2A2304DBBA9B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btfpColumnGapBlocker737548">
              <a:extLst>
                <a:ext uri="{FF2B5EF4-FFF2-40B4-BE49-F238E27FC236}">
                  <a16:creationId xmlns:a16="http://schemas.microsoft.com/office/drawing/2014/main" id="{133BBEC5-0792-CD42-6D0E-B9427A82346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5" name="btfpColumnIndicator329651">
              <a:extLst>
                <a:ext uri="{FF2B5EF4-FFF2-40B4-BE49-F238E27FC236}">
                  <a16:creationId xmlns:a16="http://schemas.microsoft.com/office/drawing/2014/main" id="{424D17D9-3286-5DE0-60A9-21CF4D0B400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442790">
              <a:extLst>
                <a:ext uri="{FF2B5EF4-FFF2-40B4-BE49-F238E27FC236}">
                  <a16:creationId xmlns:a16="http://schemas.microsoft.com/office/drawing/2014/main" id="{54D87EB0-4BD6-6CE2-340A-F8F8F8858912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2076457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0_131740361282557469 columns_1_131740344387940758 6_1_131740338237529813 9_1_131740338237680210 12_0_131740338238000738 15_0_131740338238171188 16_0_131740338238702602 17_0_131740338239063566 18_1_131740338239314573 23_0_131740338239836017 26_0_131740338239976009 31_1_131740360388380890 32_1_131740361156218642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1"/>
            <a:ext cx="11473804" cy="876687"/>
          </a:xfrm>
        </p:spPr>
        <p:txBody>
          <a:bodyPr vert="horz" wrap="square"/>
          <a:lstStyle/>
          <a:p>
            <a:r>
              <a:rPr lang="en-US" b="1" dirty="0"/>
              <a:t>Target: </a:t>
            </a:r>
            <a:r>
              <a:rPr lang="en-US" dirty="0"/>
              <a:t>Largely positive sentiment around staff professionalism, overall customer service, quality, and timeliness &amp; punctuality; minor concerns on price and reliability</a:t>
            </a:r>
            <a:endParaRPr lang="en-US" sz="1200" dirty="0">
              <a:latin typeface="+mn-lt"/>
            </a:endParaRPr>
          </a:p>
        </p:txBody>
      </p:sp>
      <p:sp>
        <p:nvSpPr>
          <p:cNvPr id="16" name="BainBulletsConfiguration" hidden="1"/>
          <p:cNvSpPr txBox="1"/>
          <p:nvPr>
            <p:custDataLst>
              <p:tags r:id="rId10"/>
            </p:custDataLst>
          </p:nvPr>
        </p:nvSpPr>
        <p:spPr bwMode="gray">
          <a:xfrm>
            <a:off x="12700" y="12700"/>
            <a:ext cx="7276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8" name="btfpColumnHeaderBox198768">
            <a:extLst>
              <a:ext uri="{FF2B5EF4-FFF2-40B4-BE49-F238E27FC236}">
                <a16:creationId xmlns:a16="http://schemas.microsoft.com/office/drawing/2014/main" id="{8BA0BCB6-25BD-4CC3-9628-0E159D18F90D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3934878" y="1259726"/>
            <a:ext cx="7892341" cy="318997"/>
            <a:chOff x="4776416" y="1197299"/>
            <a:chExt cx="6616393" cy="318997"/>
          </a:xfrm>
        </p:grpSpPr>
        <p:sp>
          <p:nvSpPr>
            <p:cNvPr id="129" name="btfpColumnHeaderBoxText198768">
              <a:extLst>
                <a:ext uri="{FF2B5EF4-FFF2-40B4-BE49-F238E27FC236}">
                  <a16:creationId xmlns:a16="http://schemas.microsoft.com/office/drawing/2014/main" id="{44F2B64A-1E53-4410-BE47-66C836FC13E8}"/>
                </a:ext>
              </a:extLst>
            </p:cNvPr>
            <p:cNvSpPr txBox="1"/>
            <p:nvPr/>
          </p:nvSpPr>
          <p:spPr bwMode="gray">
            <a:xfrm>
              <a:off x="4776416" y="1197299"/>
              <a:ext cx="6616393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ice of the consumer</a:t>
              </a:r>
            </a:p>
          </p:txBody>
        </p:sp>
        <p:cxnSp>
          <p:nvCxnSpPr>
            <p:cNvPr id="130" name="btfpColumnHeaderBoxLine198768">
              <a:extLst>
                <a:ext uri="{FF2B5EF4-FFF2-40B4-BE49-F238E27FC236}">
                  <a16:creationId xmlns:a16="http://schemas.microsoft.com/office/drawing/2014/main" id="{120B3E89-D88C-4738-BF5F-37146484573B}"/>
                </a:ext>
              </a:extLst>
            </p:cNvPr>
            <p:cNvCxnSpPr/>
            <p:nvPr/>
          </p:nvCxnSpPr>
          <p:spPr bwMode="gray">
            <a:xfrm>
              <a:off x="4776416" y="1516296"/>
              <a:ext cx="6616393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btfpCallout300276">
            <a:extLst>
              <a:ext uri="{FF2B5EF4-FFF2-40B4-BE49-F238E27FC236}">
                <a16:creationId xmlns:a16="http://schemas.microsoft.com/office/drawing/2014/main" id="{956043EE-E922-95D9-FF53-6BF3916ED55C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292293" y="1683713"/>
            <a:ext cx="1088627" cy="272990"/>
          </a:xfrm>
          <a:prstGeom prst="wedgeRectCallout">
            <a:avLst>
              <a:gd name="adj1" fmla="val 14936"/>
              <a:gd name="adj2" fmla="val 82823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73" rIns="91440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 split of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gative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/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itive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entions</a:t>
            </a:r>
          </a:p>
        </p:txBody>
      </p:sp>
      <p:sp>
        <p:nvSpPr>
          <p:cNvPr id="32" name="Rectangle 3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ItN+BdkIU6kSkys1oz4FTbg3IAHFZDQQIUI41CPkYeCkR+S8QFB2kPylUA3JsntOnMnXuTmmpeohPhgnOvWjiNP4cCh+z42DRoUDd0F5oEyYSBORxcufULdyqbjgsLC1hbu3v6AK8/KZla0/zJFwYx44yx6IV0fcVWYrL8X7vXePk0vxHZZT83xERsDVGrT9rJOtO/N2KUX8gc5O+9jL+jg1pXSOp9UJM71MnkGEFCZAFUtd/1xOaH8tUoiXos5Xfh4K4FGD37pp2keYasLRPwxzieAwnaAVyrBTfaZl44A0fXBxuAo3nzsXlXTyF73sJBiiWg11CFITeA1GheR1UIEkY8g3MntwUsVbaRLH9L4++pNxfCdbCtCJUSlbsP+9F6EFx0UfrYadFpW1LGUhHa2JWClaqqbkDmt8DTEPAHxk6cL/dqwws5wOGLEtrq8hVJEx5S9OfQtaG1Cv8bMZSbgTaOxmECStMjtO5WhYBZgVPj1cUedf8dYzwPVTEJ+fsYt+5ScYdGIOfaR82Bvm6LwLAYPfOixo0jAsd9SHseHdOrYPMwuXjjAA3GF73whMVjLewp2d/7O92kaDENjJpYMR3edxUhnijdS38+ARCZXWRddUqp8NtAl6Oi2jNbcoFGii8zGizp5l783YYdUyz/ogFFjVr+5f6R+E8viNDEL7jj/X1BUHraEUEkaup4rpb3wLQ/1/+0fmq4t/xKnoKmv/XtHz9grpffQuYEYZwx6aEXnzRAnLAvLAzLGDGyoYrc9L09BUOqETzo1FlLFtiP4kmEBajC6THg9bOZ4PhFEQ44hgbTcdqTBErZqNQHeQATsBJ6/ya71W2M7GTxpTTGhB6eS8uXMs/qLNByiHP+GBdxIvsDrpWCLNOEgkJ5scrh2oMoWx8DLi033zUwI8sSpGZKQff3ryh6Gj5CBMqjSnuqwru/4XDwiZq5ysrDw15cQ6Pzdx301u1czAkfNmQIpzE2Bc4vpNTvNdu0pZJStH49hL+GBKszq/TygffPTTeVTuA378nCZbbb63gUYAzfFlL4ol7D0w2jOK8+olNoaA1UNCCeYOXtqBaY1A07R751QyQqyJGvhDaidgXWM4pUaQKwQB2ZDBbZJF0EMuGxYnccCmhycsasRS+PvGXOI6SCsHePl+NvWbh9rNIiHauSGfeWZHGhMWb8Cuqnymz2mnnH064cNp0OMdEgreXI3fv+CmbTSoWLZXmEg70zBjPBBvw3+7X2Q8x2lFU1xy69N6AgVxN8h0ahpF/28oXu+mRNom3MsKENqOaMaIQfwJ/6PcPr8/2F5QjjYX2PhwWqlCNuaXgXgmq2sC3yZXJDTkqONSLpe1vRajsJzmYm7PL5T/DxRuGYiYC25BHLPRlfEf2ADAiXldIrD9PBkUV1v3C+UWCRzZgeQSWsLOWVECQmxOYPUWCGBcwu2h0RXLf3cJoMKWvRglOQ5qS627anQfJO46+pyzToZo2qDVIktN3sU/a48hwU8j+xEHNmGWzYZYF7+Jidvu1tb7jB9kxTR3Sef6tUJmmO4wld6uBPz3CVy9gKmteMgTfL4lmurA6RZsTDk6Ko9qyNln488VdrlstBmEy+IaOGvABOGcsAzv/alQVA0TIzSPj6qHOOmbMtGyU8XsltfrVgXNsxpe9QsLHFJQupWzc2g3ilL9aPNlKCR8fExuXwlz3fx5IgvnBKQIzeNuSZ0xnFMlqC5YbbWVSAfACD3pz9zqUD0Pqg+V4cXSzubQwevPBDKR/bzq7LDRVUu8e91Qs6/XBlkNLRuerIWTkkxxlT/9YsLwTObOT68CbjiUQoTQvkcyvv9uH64G1bhXe0YmEMm0m5jtuWxu82Hrcy61OS0qsmosDROJGigcGGOMf66SXpopJuZaXKBV+TKF3AW2GiEHZPqOx8fswspqIuo41ak8QjWttOYkXz3Bs5Z4twmt6mOzubpXESnNe9H3be1TfZ/oxNk/yVnMW1+iUFZ2SuX86V/P4tekz/X1pIHhNnBKPptNvl5hNOFbb0Pe7aIdW+ltDLtbcQol532lpbTGvUXFQhJqaE/A8zVQjYTUtEUF2VdxSSuxvn5mbI1KLKkQnfbASJnkaINg9S3EUQrQ7Km3+/cQMr1cKFDNw77AY+F/753TxSiNMWrFW5N5xY3c2Bo89sauqO8NzNK1PBxFX5DVfsvjF0BVEGhGzNx0+rZtb20CGmW6+dwTllGDrlGmTukUUqmfPYqsY9BeXgzcDExMGbv4209NwLKBnf3IWdM27G3Bkz+Q41naVp6FO1A7l6T4+Z8Ib24PzpZmQ8BQmYhD6V1z8ojQdJZ4hlMNDM9P3Mtn/mpkIQ7V/es+g/yKx0M2xYNawn42mIXJDCgAzcom8cTNFhdESuKLWvJTxZpCfVkzAMEnNg4IWwm8bzoORHc7MXRZYsCL9GfygY0MWaQaWooVE8Q2GBy3vSy+P043ZeneiyCPCgbah5VMq+RFf03pS8B9/VNYB0D0UQUH4sALg3WyY/EbEzdw7yZgAWd7FochzPbwm40NkIzVFTXxSUvurEZMOaIeG0Gg01Q0F2Qw80TuIgfDZS+KP6haLnJV+D1s/15q2HZ7sgSayfdcCio+63pJ4Yyvc0nB8ccXOeP7JgARpTezfbSDpN6iaAMOTE97b4rxFeyXMZKeZhGxNgWKicSnT0r1xMuDHJLNrM5RhXqRBZL2LdppJiHEBTqKSU9tLJAOdPcdSK39xKrAzU+jSlz5H0oJhX1R5OnYTSHvGcbzfgPo3tED+iIsTxD3Fzi5FNwdowParw+MftlFyAARgS7G31oU7O1kCF+FTcekyvIg2LkZZVkyfzv/bEObNCqQFSxbxeA8IIJEHNjXtQdAt4v7uRg9GPuo8YMw1q9e0oReBTLnCKmNFx+11khvcVZCZdVS2rv6gLc5mw/EXYwuu/gVRhcAJ5Dh4XyQcl3ftd6ag+h9ap5+I8AklDR08c1OeEbndllne/1LnvGV7mJkoMm36aTUnxkI8jphv/ojgMpMahicLnstwGB4NHti2WMx41EwxCJ1ljQLq5JEOF9AcJprT6TsutkWdAKDwFQpUIuutiqvyaqCz0SFKtfF9+H31jYobP2yaiUQkbGKDmlb/YUEU+wehs19tHo4o7avnK6HjrVPiQjlN43F72eU4WIxUiwPrj1+R5WoAPCEouZb9CYsfJlRbIR889Grjoc/bhCfIGdBKY9crzJP/rCJ9Xi5fqhVxKv0cZp1MuSUlGS9t6tjr0svJsGEhmwouwGIhf8FYuR1vCuZOYvPkfRjw8S8D3O1r/yLUpB2w7zuvtHibZKApc3Oorr/nXjvKGxxiv2i7qetXht1dxeA2+0hVOLT1xaFEMX9ZgnDd9Ov3xz61ZkJx3BrNUzxPqx/EY/vVOV6YBTLhiqastRBo3rci1qSTl05Df1CCBAhAjKFyc1UmosBclfkvdAV+Yb4JLwGLuTSvm3N4N89/669BSpahfWSZaxbmnbt3G/jleqrFPnaZKk5a31iGK9i26QCeEoVM/1hAtLg9AWEHyuYDOZ3/bIsPT80wUx4MZ7AtZ4Da8rBfRZ2EcFoKF3r2XVmAFE7vFxr9ah/bXK23DsbF1Th1n38mNpUmArDyjwWWO6xr77GPv23EX2uspDDOEfZqg4mwGTQz+W2SGbsGTAo0NPgTjVKhg5pJFt4gL+BPBGD4heHvyGXsYA2MZqiG+/OvJ5jLIHuNfcLs8a8Du9d+FmN8ZT2dZL4BTO1+EHV34/mEQj4upqDZCtfPcoU1giJg+WohBnrZdAf5Hv8ljJKkTvQXi/HBxkduARYkC7PGsu3acJPEALOxwZayUQY7UhiIvhpqkw+iyOTIUhrQ6hVTLNlIVOcDyLWnJZVOukpYPpMuGNBGqSBlbW9ar84+oQ6fzLyLsAOsiHSXqhVUxF9AhH2RMqrGXjesrS0XQvwp+c59W3jrnMe+hbzhc/kOzDy9WhQGV+yqfBa3V44U3JijMGlBoJwh/LQ5CAPsNQFgnBMhjyM6EnAV124QjLFOVN5FYl4At8UPr68MohWu5pzlqTSFeAEm8AobrEt9G1/sK2dj4kd6UGvYg/zzWVUJHUybvNa6657Clhev4C9ZX+pTdMltgs/Os/lgKNwg63ajBl0GYpRHKT3Pc8cht5jfwwSXoHirVS91mWh74c5gCF+inWZyraC0D33Qg+tvJ/NtWwlZBrdcUqZ0maM1sVgJ+Bym7miK/wAlfB7koCZL/I/vAvshCJNYcCSh8lz0nG+GpAoCqJ+6Aue1FsHP2f2Oj/jNB+VES+0JcIU6bx5auuDpNKmPXSFsQqdZsHwhqrEBmTWclNCnNb9EGsf4zJlbuUII67bo/IP/k+WtaKKq/TkvAVqTG3G5cYPmALOfqEjQTHUFb98Itke2DyIKIlhZ1YTYaWzVsvACsPsBGYJbWwMgBT4Gsk51mAvyaFGenPat8RZ0BC3H+Eu5yNfyx7Sk+vF1TbJiU3nKDMlkNM1q26NxX/Qu5qSEmVUSewGZjImG+3jh1i0c0eRPUJ/hfCFidclWSkwuXMG0y96wVQDfRqr7cVe1FFa5YAAwo3m9RVX5v6T6uVF2ZjNQ65qJmo8GpALjTfIUxq0nNaJ5tYH+YZhdT5isoXsorFykuJ9LHA7JcIwGp5AeMZ9ALVVjP7CBdg5fxzIydwQuJ+V6f1WzDwIoFOffhcqCJDpPu9Y8GGE95itRMGs1mUpFz7jjcmWjbPLySXAMjrjsMaD1XUG1S89jv6TJ6zwFKWaX8EISUW+CV0U53oWTUn+5nD3R57nwDxCcCfkCjWTF16f3JsN6Cl6GuQk4HKPBh3BT3U4KikTKbO8RKhudQnK9zl78jd+FseEg74P1HrhjnJFeN2gNSMUP1V0VTr5xri6ay2R+PWEWCaplAD9DJvPCnC3jX1FxhnojTUmPC5vyroAC8ENuyNowhCfJqfIDi6kirip64sc1vkzfUMmfjfnGwa+7rSHUtj8dtPOfNHlmt0uiYvQukNmK2Wk6foFT5PfNU0Vjn1S3clmlnNNNGNfSKo6+WGgjjZ1UIfSxqQt4a1RQwO7tI907T1h9z7UOdV/uWNYFTIS0+wTCenXynknqp9CJvCpx6ydMJLC8Xa4M4Dbl2WFmOI/7lH31cUNqdxzZMdlFDeS24U47JtXaHvApZ+xNnAndL0JajscC1I1iLdaK56wQGL6yFNUxh5Y93JL1YDDRLD5IVs/aIVL/Nh7NwRysNCKXlTjYtrWcSCSyKGtS02uVlAPl00cHgGECwd/Wo/GYEo9P2cvAAHIE/k+vgDtboP5timOYYkLimuu/IEGK4krwgVY/zdXfVnj2v3IXEfho4lb9xYaxpZkrjzbpQPz9r2/qyTdlXAFKpRV8QS+iYrjByDNjavHMa5uvJEIgRCqk9lHuuoVFKXHUDd+5uAcd70LM3lllPsjF6oTWsUsTYH2CSw5yC3IfPQkYW8WCbmUUASYc6BMQhA6BbEIcg487jssk9JBWRe62kkuLswZ+jDRUfUZyxlZrqs5NTmv3JrDJLIG01lnzzHz/8BjtvLE6waBJT6sRWLoSDP7iMf6e/gYNXyE4/XHwg+uMm6xQZLaGuvDywfelSfyENMvkwMDJ2e2lo1EnDTFXChvFDygF1qfTOOLALvyDiRar2r7gAxsFnrdgWgZp1SGjGlO2g4yQcYcLJyCMwxA2gTU3OLkmVDK697Sua7Btve8Et/zQDi7M5C2b97h45MvGKuMWAgdUZth+R8TVjjac5v94XU2qC2Og2QCe5XNmKh39bXLvFVzFxhHoW3++QTg0taVIo2u4aNmjzwBb96MqiYGCMg71zyhcw7my/mJGBy9+L6A6XezJ0hEIEpF0N+WuLApbTr1Chqnw8BIrPAQJGl8MUkLqgqN4jchHGcGc2MEx5M/9U1HKmvbzTikCly8/oQVZfsSBXNi2l+PL8+UD8B/3uJmEvxrdhExmpLxF2IoZtG23VTDEp2Cay0l5Be8F/4AOSxVOx3golSNTPD7L3YRvRSaawNMngbdQq7KOJluhXKSbO7o/Xxqg3LpUbhdHzAB/jbNs54EeBboUEpcbTcWkp18ziX5UoYJIqaDriSOOr9f6vnVqHAdlj2HpyblLokLn0YvCTgiec6ByORltej+Fkg/6Qxp91JR/U6BD8gBI5K/cPtlmZ+QJChRGeLNRure1oqzw+eH3wWjXva49WamD1QufZ6VtUGUkvFzOSSXiX6LAp0Tzv0YTSzkPZtgvqHgr2qMXxi5MWCgQsh8pqHgKt5laEmK7j65rb0vnkLmP/+Z8XWEZOq8uFd1eb/D226bC2RQgXPY62b6TQCfBBTQXvjrpKqncDWbg59IX1lWP909nRlaQvKA/dOrXZxGJcJzlG/f3FHt3mEhPGnW8SuQGvMf28g64FRSmi1gIYJ6ZQh0RqRRoRArWdKRg29Qc9uIK3j6ZHJpLdOVlzDcClvQU1rFwQNoyEdU548tsLAjfrtJrTzUMaKO8U0dj1xqS4Y3jHLOcoj1AWSSZ/7BbZarl4Zi/e+gPuyEHimtUNY+peW2CPWDvzUSwf5ZE9ukgRZeGsxQHIV/R9GudXCNg4urftwVHLi4Xgg+SmISJmdeuVvOO1lOLS0Dj0tnPuFrxp/d0SzjZh452DspW1UXfpIdYuze2aQCp6vYRStM81tlY3Sf6S3P/aXwilCKmUKNoibCUpDQEQaCbl5Cm7zKryHJco8GXEXGmZiVgw/zZ84nNY1Hwxvd9iBDAussbOlVJWC3ZJLY5jcsQExpUy3P1bTxwPXD9oPwt7kJRiksjkOm3Mv2vXiW6zYXc0S3bhwzhiLrvGmpgSaaUWMEwOvoyI+8M9iQxdsqciPBCcd+YnXPRfPiR08xnoDSl39Qkktc/GLarciP9B2WkkvI+6gZ5UXCixl9FRWj2PbkElm0YrJoELmlL/uVpKNfFaYpl00XVExcGLoVBicmWLiMQ5XbwT3gZJict7wisNicSgQwGxnT7Cuz2lba8dvAwcPPjZWn+07RKJdmAWrYk7yBxjwVE+yF2ZfQJ9Lg3cj/K6XGDWMnomNwWmjhaai5wQ4W+odub6Tpywkcn0lfRkZLR0arzkXFIsvaLPM21WdOZ/1zBPssEuKhNW6wjA76OM+9DMr0+I2VUUO3KjyAhwOBFNgApToiw6eJSJn0SUsfL/4srkdUDL9PA2Tpg63kSfUyXDXX4UQWJhmA4cVujrBr8OOXK9WIWtuK+QJCE67lpg9SGtlAZaJy4an76amPHgnK8XZWOdmyZxB7u+TEEHW9zjXzNJLYVdHoKUJDFFnCEdHsfAwt0JdFefXtaCvmY3JoPhydU3ppo6n8YPKbRW0wDbYgIw1os4UltHT+PUMzAPo2YPCR2BD/SCzcqz3mIlgd+uFnqOLyQoxoiB7UM4SIzku/vadNbrjwmv6mrKhPJgAG2lF2EaptMvoOMzopJsn4NvO+Y9ojM2Wb1vxHKnkP1TPEZO78m0qtltI0wt6+SyVJ4JMqPcnTPcTNRx4SJ9Jav7t4ho1r+m/ofco1Yo2L1J2iQ8m6VcPa4jdH7ewhepbIN9hJ91e4OlItH8dlmWyLAZA3i4rnWcBDSEHt4UomZVr3jy8JEzHtPDApflFAIyS6rJnL0+fwivH8MuTEY6i2KSpUy74UQzGcrHRQ8OE63fSpgcNiyVqfdFLIWEnxzn/Bh3KVTgTndfmT/ZTrxn5BfdWU1vaF9s0wUUIgZrTdg3YiVrUgOIpmRW91GhRDUgsWo7IdrPoaZXP3QM7sHjiuk2ilACpoSHCoZKpPYxepTnpnv418Ow51ekpUwlolSCfpedgYGFSNWFsppE6lGWxuoN2fapRvt8z3xlfss5vO6ObG9tsjGIliH07owmc29Yok/IhaLDpdPGwUwCi8Pp9L0IwJp56zKpz+4Xokb2qIRvK3d/iaizEU/yse4tmUy7Ot7oo4OSnxIWUgqn7U8GjfHJhfzzs9HMAr7/ng55P7kzG2RsAyo6B/M6x/gwEXOeLzgvgP6YRu9xG68akAuWxPZSwlryELuzwSKf9pJA2p1x80MaOWhZD62lVXKd6RK6hRaMNrFs2VAKAPsamx9PbRtJ34QEyNDvEhUSZBDnxU4FCd6GDgat3RAKJnKhSDOiAigXJyrDVguRqis8NDOeYsoxuaz3cqwawMGyh1XU5FW9L05kCbZwYYEwm0oZRIOoscG8Sy8aeoQpGrGgdBd12pbA95lsaSRN8QxnoVT+Ycwu11TG0AqkKlaPjx1w6EUHihQDJlks3u+9OcB8cw6pSDaTrz1FzPsdytbf/pZ1H9lzDG918cxD0cWLO6RK+1iTVDb+TVcRdF/O20dWl/3fh3OIn7V03waeUyI3L56lr5i5DYyti/dEOP3giX+ke3J5bjeNGtDeF0ysGfAU460ZrFEqh4yY6/kLssToMXIVQzly6gVudLs6oRGd8TgdnleAan0quLqOnSx8/A+j/OHLpBCRxx7ZQYyn7aNF4B1ZGPGVGMAme3PVzGhL0w/9mChBRu2IauocECGO0uR3MDN+7eP1Mt0L5n0NFFNWwk1+eWbICRo/2ANB9yQRhmZ427t8QblggWGTMen/n05tHrveCYpS/P3g2FRONcZfXNod1iWFL1jhEhkFU6ydJWKmJP0fTcpMCYkIBobZKX5GdQILCtN5HiUtf4b3Zuj5BZJxVr7LVwJsEvm0qQ3iFaEH+aa5MSivu0cYKUZz/VCykn2Elw61PlXqS5lQP44frpUzvHtbP8gHR40icPyuLSxUz8Q+hAA/EDJ2jIF8ckvDqce0eCjfC7euWAsVP5txgxfFLgPem2Tb3uGM1JMaVXUXrrMBCdd26dXsmiHe6IsL1kASXB6A5YPMmYlHMIxwsiyHkkXNVBZBFhdMf2Dx9KIbQuEB2n7Bqh5prp9YD8Y0Dp3WJTJUfxOu7d4mFr9h2k9QuoVNYVZcyNaI/pAi2ofpUGXLBsAAbN1gVY0GJ/NdGDhxIyx/No6o/n2mGc7E3miFHz3ZMnqu0lnWyvSEpW5I2+p9r/oMRCalxHFiFahuZQ9HHEZuIGqXHhZDGJFWwrylZEhsR7TjF9Sq12UuV7xbEM9dsXklHRTZWtt1Vf/G3HMklRk3C4B+4cYmj6jbHdzDMosIr5iNb+ypj62kcGb9Dr6iMrRxLFur9UFXYClzH89ic9S5jC4BAuclCrQgQ65W2z46o81eak0SY5pGuuLJoazimL3QrVZm/PmWiD97KueKVVam3MAG69BBsQg5XIfpWy/jerCdRVcyoWpnYlsllofgWWAezjJsQ8IgaNv6liHqNcXzz/6L1Ygm6gZBtihbF/1T7+7QodOUImWdFUesCU5xRgagh6JIkzBSI+uiwhdi6k7dJC7Y1AylmL4v5A9ogeMmYdiQ2HWnvHPo61JJyWlaNr25hRx47GWHaciUfyuEhMFhoLLyEcM0+r+O05AdcU7yzg1NHpxEQD0fGqiwG4Sc2i0LliQ/E5ayrqmn7w1GTeC5O8BC919vrhz1YxKM1VI3B8wBzg0XBYLv3Z/USQSMhPDW0jgEJEpoZQbOny9kYhiULs8NebzMJcFlhpy2KPwhgoc3k0EO2RG+oGwRVBmxxcgLmkU/N+Z9HVtwepJV2H/smIA19kDE2wBUkHqAyxk2PZxcN/xlCtv9EcRvH83bvh9xNflB9PUeNCn3Ss4pdeVVPvED/MIf4EOYtnWkSJJvw6dP0CK8qvwoRwvdZ5SYwsUxWDkPo7X74iflS1AfH6+g5dC/kUDbAKb5UFQV1ubzeBfbDYBVxg9pkwXnjYppQhqAkMiB8gVhU898UcYW/ZO/ZbvVOf05ywu29xQBDfOe27hf3Dbt/ObCk7QIvNNjMHUFGjP19URD2Xypx0w+sqqJjVvch7Ik4aij/a9s6Ac/nnJBvMXTLTMrtGKc7uGA8dfVlkhDLkDgu6Z3AbSD2xsuDx008TMeSVjhFEdfz3aQh4IUkCzTSSAjfkzZFkmH6XxGNM51s0kE4xlC32N2UBLek718EBZ3//zRP74G5swRgWo95A7o/ZgebpjpqIdroYOvFAdcjJ/szDJuwOn5CaI3oYGynmaWPed1GVSJj69Lzp/JsUd6icCOuRjrSBdQ/P5/zQ6xZQqgtS+pAPhazJd3061tIOFtogRr96Ltc848ZbwguaTempG/jvmA9gWIdZxDCo89txRqXB+0xOtP96F4g1pVGSR994FfJN3BjxFIEoEMTaCA+0oZHj2ZiODwSkMoJa8Fgsu0Y2o8KBYV0TOmHd2swrV7B9UitBoBMMK7dtiPNqerLLIhSo3m0zsNhY61gBpTejw/v2kMgQJr7+vVcJ16V1er9vwy8lEUQ2SL7lf/SQIDjhhk4fOPRR1C3/sQzVveS/kQK/j34CmLEVblavAAlbtIlw3TBbaYRf/BacBXqDltJPYwFfrJLKSoDDeiOVDuhN87/IYKStkRKBfOaFdrDjwAUfoj8AZedr1fcVEi9j704jll6GAiMNIl8LPqwOWLYv7RAmRqDnSP/hcunU1ORY249wQW7RfwUMAAhh6jAsDxr8YTaxyjS2a/eL2XZYLhfQro2V/yg1AYJTJpMxaL3gmaVTbHlDpwxkxeJmK48n7d6ydy/Fr7t8KKtdbxDSRBtR9WWVGhnGR7Ob29nvR+DYL+23XSKu7tixQMUAjvrivnnvtuBUD3chLXe3ocbCJDJwjj4Z/E45ap59sCnV0gj39WEJl9TM9VxrybZZbhevz4G2xm2zZnAQZJ3elylcO7Z4s5yNuXeXrHbbsWDO9YaMiN/MaAxRzhnyoN34SMiBuiolaDi3fGx4CQ9MF1X7SoU+qh+H3Oh59PIcUzWkCbZ6LfOn6D2QeqcRHTSHohvRVKOfVKNzJuHGZlZ4b8/8ziFRVeRFby/Lm9d3mSK06gC5/X+09p685j+5WastWDiO1C5tYo6l07AUmLE8imxpB84E207JWGKcvviEuahh0RwWjOh043xDMMQZFRinlp7FBFEnm5Lh5nQqbB3VKeMWRmuE9azza7bRQ42l3zI+gJ6SrXP2plEbxaiaaY0RrnP4KLe09Fny8vFd+IVPxhyYC5P42tpMw+lTtfyfC12Iq8rIR+ev50YqTMSnalbguu+DhY35obl5GMGXzwd62JZ6u5koIJ8psowAX/spQtRYOu68E6fjqv5lmNAHD+fvGUz78mrEbKbINT6PDSCS39Oj6hGL6toeuB7Fspvf5Eh+M+aXDU8aVo9sdn+uymDCVPb/zJlR/fVEF+Aa5GWIA3ARkTRLnGo0TWxC8B6OEWeZqN/ZeQVwLLJFyV/fkBzkbU4CCz9QjtA7zzt+vJIGUjCuxWkOHCjPx4ajdvlrZYER0fIDsTPARCVW/8fiyqZfUqsC2SYMWAgkArrMSRsoXJgOpcN/uPQbLQ4KNMFmPV3FmrqnEgvwIn7pq3F2cwa12AruA+n37oFWOF2tGN61krXRgSfdyRxheAm4fGFLixQ9ptq2Zo8yvyA8mUBd7P+SVRH9NT2lr1Bx1opuCjyCgBoISVwjoxqGIGTHeqKmIWIRfqMGucQgQ5DsJoPgOBstzhwLaUj78T+pDKc3soCpUx5M3U1ygqSHLYK71yTXBl9SxGkGF+x2LC6utAW0woEmZz3TRlSec3SZ7IVlhflwXYeuAN7NKo9uYWwKtvs+p9G6hQrUmCjyVZaXaxd/VroNJxpy43yMArZgYxSBfaDJmfK9LeUR1PW6QLNvPCjQHNWC2JIhhXJHOo5G+zZKcw0TqAQcOuZ1YLP3dPvgjM29nrXK1oSQ40dFtLMeBWuHN9LpHcRYNhKxbXTgEiCSL1tBZKvpLJQVAQ3XYxCLfAmq9oDnKeq7ZNR+MkGLVJi2yXq1KjRHjuP2NOtuyMGPkdtkr2Bu0GIg2HqkGA9tI8eZfYYT3xlgpTUUu6NeC9rxAiWcSoHXND1iPg0Z8YE1xA++Kq0+2YW8aas+2cu3/YKSaTRsAfJ4UOSA6GZxjUzEjTBNichXI4gaPPDluQFTVCVkSeQIdln0xXGnd31YWHggE6VJgwi+WiEEBTdZK4oM3D0DyeY5g9XgW3Dw0zkQspL6M2S3cMFujrts1GN1GxuZGKETnNz9QJFyRzoQSjTw2omCNWm+WIDchRG6+fPVMCjOPExp3eM1xRC6X8a4SECbXeY/Q5WuMS2pot8QxlW07KyyjITwFYf0lENANm1ONq0/1wf0hB/f8y7HT5zlQNQ+0bDaVOGG3lrL4FqZAfFHskOEXy8wGMLI85I+hJKw5VbCKnuy2v2prb2CbU+TQ90LJWSKMM+aNk1PXOQ0tB48xXrLYXXD0LepfhWiC6/RnizuvHBk6t89wHvSrfEwQ5EmyVduddkmY8N3JZkTJ93NzZy/GUR2qOgY9KTkgcDhZ/bCFFzAk5mMj5doL/KxlPEDNXtn/Ko6egFi7vGj+5D4l9sLTlHP7G/i/r9qLN8rGYfSL6dCofuuLRye0H040GjKPq3ucFDLDDOX0CNmPP/sAP47Lr5KFjteI31yRmjsRO489Mq7fjI03Xhy4D3Q/QnZlzKt0ABJVmAS7k+JaxeoEl5y/Gr+14IT2v9oqCMYAjVfUkRMnI6lQjQIQ+VEfiKYdkNAnlsGJQT8IHD3Sy6R6DQREnRSJz2pHHE7ZUbZ9+EPANX6yZkGQLAYRdJ7VdFq6jjWqUEX6kaTDSJkxPdXm9CaCgBnq+3tBQ4QXCDk8TeqB7XeU2duiBADfMMORN7ZRYoJO73/oyMZk56Ej3RXbVdrvFP2Cf4u2TDiJoAYejv7tlYdVyxx3g6U1eGuEBelWzVhZ6CqCT/Yd2BYhqAXq7Vx2kHc7+fXsy60u0bdHBHgD9x8a4MBdJo5QP9S2ViffpCh78/TavJDgaVpGLT/M6LSS2wPjyAv5fq5GfJ+eqnlz2MTrYR0wBA9dzJ7TNzK9Ig4503hNgJXGsbnPp0yYo7tr0HTY8V14QtWK45czRt3YJRDLgqUC7S5YHsNTykttDnZAY2PAbY1n2K938ohzlubhXdfy23/XcQi1zIxhrV/K+1wSVW3IXttF47zeFFGU7+qEkjA46hgVxW5SMMDTMnQZ5HST1whIqGZ8PWxFo/4jyE2e0v5BzGVFqbe05zaEpxFEwdf2EysvbbImXycPnDVXIfXPpc9AwYTKfIlK7zEZYICaWN7o5NwV5em9XvboFlYulqKXg2cfWz4xgSCyB0x09SG6j/PcOVvmQwwCO0xOxI2psVmK3M6+0EErbXY15L95eDwoWpoQVZN51Lnss7Rh6gZ+MHEHBPJHYaip1tnWazkrnwTncMvduK2Zo5Wlktpcfo1SEmkXZVgSZdA5ou1/x9J6n0ahrwW99DuoEp8pm75kk98VX6MrNC7atQRdmXgZE1NNJjWjmj/jha536FyCBwmB2PNEHM+jUONA2DCyOjUGX26oUZg7AmTvkmgazMHsVBicM5N3Ey/c7J9UskXpmOk2rDaR3DglcaWFtdQMlQqwjqzm4HbHZehL+SkPoflte/tl4FoaA2dZWC7kKmYvdLz7px4mzm8LWuHz9dkAZ6TekOqXvbQBMpBY7q3KR19OXf+q4StyNikxBdylsIubTPYAFccpVHowzAaVA4EOZvasJe4YpIL1G8SGG1c/qpZR0rz37Jz+MUMAA9LRmgVho8+EK22zfpiF8CNLn2/DOETo/Lm1XbIfAil+rwl1Id0TFLwnX8SxkuN41fpvxpkcZZbpL9iiyHqwlYtiHHDEk+A7F7IzT3BDqj/Gfv2oUKKkwhEkgsCdX9IkKm6fgB+fW06KCEjqlP0sjrnZvhnXJyOOlsSQzKZ73OyVD17och/zYla1pcjeRyXY3UJbRxd2cMeOCT5wJKF5bGSUBbhLc5Has7ehaSDtvQqzKwGmDIWouySBi7ickTn2Smkwyj+4kYZm6pIXJOt9NVVy4ERNWYP4WXyE21BhMELQcxKV0dwUol6v4klh7UpMG/AbVFYEuKT1ZFvDtmWGIOjNB/zEwB3fiUayBGSO7IbX6uz3xcOtNf2hmfzOuFNBaI2MAdWluxc2IavSrOic10bPGcLcq+1XNLN3jYVv0D0H9DIyIiwv41nFkyNvLiwRsDtpYuToSTl3hUSkpEXOr6Hyhsn0t71EAZd6cf6Q0t2pPEX5YCWuWl7M1T4fOOMpxHAcRPJPO0GvyqwJpR5Vx/DJvwWBezmH4TM4KoXeNtt/sbh90enjvvbweXuOB58ZwuH7nMRA8XSAIX60Gj6apt1KX+IMU2Dx+8SmdpTt2auzn/F2zaGo1yL2mUsSPxYMVHmZD2kPNJhPfP7e+GH8dw6inCwKJQ17Xo3Tb2x+xXIvtmckgBqw4UCB1J8nv67mfKFAQLnmyXUrRTK7GZzH/WrI6+yyug5ij7js7602uQI/zkfWGivncSPHbPYF5Fo+T9TiHdftaDxEpwVhIK+E3tSPD/kuFwLvcl/iA5xPz6BtoNaBl2EknQcpDlw+VbxU8ofoWSzZXdEHaw9HrIt8t2C+tiLF/X9X8VQ2zl+NJdSi4UK1s1ogf7ZwMufnEvJ/rSQXZ0WPzY5LMTMsS5Y3Sj3dgab4LfEHNscg7CfbCs7a9p9IC9F81QksWla0W+sDZfxFX5EPqdS/3DvkINAHGhJ5hqBLaEukxz8idz+5wDndTk/GUOpmkqzBgZvvIWaaeVYotBNSrSW3d5MEljCXM5I1IriF/8PGZctHRCSVEclvi5nNazYy0jH8/II9vWU+nqi8dxx1mcx4r05ea9XURDOg6E/TqE2fQ+plculIqLMQ6S+CSydYyNzZd8GuByZR8WWDqh8gm70cJ5tbmbJCsohMndqzBtMdLu66H5JDSbBGPUD78C+p8BVcgCvC6iFNf1pVnyUj5L+l1maa5lIrf1/ZH4TY+KhRM4bTIfc5/BPqtxdh84f2MTrh/3wG8PmPNjkaL+frtS3IzzETJXpC3pKTQA3e0GkD6Ms57noc+LoXWNlTwRBjvnJXZXFu02DZ0uhw12CUEGI5AbEUWah/0zAVcQQuyKVRtNlyh2Btni1auSAyXeCdiwk4yBebp4I8QEt4/GOlSFSReu6Sxyi6QcsEH6a81rZxL+gI8Gw2uZz1F6Q+PCCtiA7CAX1VT4zU/dc/i/0TKWVdG4lvafH/sOug4PmDhHKCAKop7Za25HdcD50zSyMbrYggTWPCtFLPCjrRN4lgp0goiKhEu1agZfrlumlnT9/L44PSwddwUnxjBgAnQLeM471vUug7NedAALZoho68GU006vGrk1E2aHUES3yQsrMLiT8pKmHn/eOJIUi3kyP1n8OLlsnsufRuEVrFeTa/GQeNgClADagsEaOF/QoY8byJR+R5tEnJ3Q6I6F+hwrM5jgz7IqLZABRTXjvByaqPo5jpGhbO1KxGxE4yCbJkFOumYGC18g+X2IRIRUnGYyKn+BoLWCfSQSaArn9xvyTjCwrLWg/w9h7E33RBpa+mIVlqCgB/ybbo12uC/19bWFkZSqMQsHD6KRXsQjdRe1lSfql6Tv9lSjbu0O3MZAf5IurfTQM2eE0PKRvM1rHV3rqucBnHU3cDubLWQjtfRGV7s9RQP17QM7SptKP0EVJn53UCa79BZLau/ymj/c+pjGwukovTULiuzc1NEtlrYgtTyrEYowFct64yMG1r+foY8Ixkz7hRiC8RaiNgIlxFsAebgMfW+5f5GHDb4a3UHSoX5bWOltPk5JoyqId2Xe6I+atsbEzwTfPYC3OKl69zVBJLk4/sS28CI6AoBV2y/MGbfHCb3CuYeO/vYQQ8Hw1wJrpKfIscPwhME/iEWeWo8bJ/iCwJoFWP7208gel7+PtcbsTNlXMTnREViADj+hsYBA6RLLaEMLP0anzQyi6jiaIx52xUMBj2IuBvlyCgGZYPZE8529qqK08QvHNKFDjOd38p/h0ZrXH8djZf9jdwuu3q3MUijPKaeocFj2EUn/Ulqnr9xu8OGP9XYpBz1zeJDbY6fGbcoNqTEyR7FTLI7+QioPksUJUAL3ZFz/qdjY8uP2TZVGaNFvUn+ll5rN2uxSmloSugmqVzOpbQX4XPSQoufQvq6tfGTVKfw4Boy2o8q6ySXZ+u1L1n8mLU9jImJgsXwiTWicMoaCWUAOlLtz5pYSHjbExYoCHcAEfExYB7PmT3ySvT7UF4uVdMGt1u7LMQ8GbXo+q9jLbtBAIBRgq8laREobTpuzZRVTW4hS6og4UHwkVC0BShlxmMacnsYoGDet1j7o5HYZal6K26/ckVskXX9LNyXVgOKJr/kUJbHFC6oBDM+P4+BrWkrMySEyzar0arwKtQV5fPPmJkIzw/Q1v8LGiWkAunDl1IktqhEGQRA8lPUFxOEgh+UHWDioE8wWMKSi7LNEv10l8FoTfMePAEYEuBeB95TsiKe2T3WR8dRGM3H6guV5DrPKMvG9IEzp0qhmWifFHdPaGFkL5tsETomNyoxJIJyzZFysqnZBf7SBI/3fPad4omyBrtnY0I4f438VPv69iX+6MD8BGiV1CntJn0KoMLvNULtLIWl/QbUjW8KYmPGBIHzJ0b8xH6wYy+/4aqZyD5c+rtrYsjNv2Drbq26HzNPi/z1s4KGMciUbS203d7JeaV3fsEWKj/WToKcpWL6rCGiSGp2+IqVcRoZ4OjGpAKJxH8GpBxZ2JmXXrTMJ9YgAN3NVEcsAsJV5RBMpjMm4r/c1oG/zIe1Ef00fty/P0kyL1tReuS1yiVLnFqNpnKkPLHheqHRI7C+iC2PReuDsop709yhDtcoVUYjFTtuXxcmAd98Ez+Ecn4c2/b5sOBNJta8j+YYIkIo5Fdkqs4YpLnGig6tPqsCGuM8/xIXuO72xJrxioPwr5cWQ/DBimRMFlbMRi94xhEZ7EqJRdhY5Yygd9mH4Z4cn741flevcuUH3afDZDnxkqqcKlkZes4NQDPyPFVVkYaxCPZirFbpNwJbgFvjK0knPvTIZqdB872Bo5qAJRlcAR+IFcwdh+7sa9YqFc+xvCopsA4IBqhQovvMU8tN2qj91cK0x/0+rs9Kdi9BhqS0AiyfP/CikBhMamdIfCXywSf+pmm7DWEzxcDd8ocBFi9UAurWsQiwQ5scKWkbSs9Td3ZqIuGz13XKRBmpqMOiMMKO4jHSzRAp+HYONa9kWjDoo5J+JDeNYHXwhQ7s9MMhJ6q2fQ4C0hZT7CJyhRbr25Z2Z0VJtv8yFVKFnt1Ddel3R54rqJI/ZX7n6rQ1GSWFwJNw2RJDYUQ6as852eXQbIG5kF4+qcRPjR2/K0wYbcrsXwK8LDvr8cgNlsJdb7urUf9c3cW8nnnbcz3nCQFBwUJs6kEwp6A+cecxbh50gF4K0w622plHXkz8p5U2+t9Qd0bFDPP2REcMqYjy9dbTVM+Kl+XHqZ0AcTxzYb8is+PSOkiO6WRZBoUtjVEoZeMTGDmPoCKT0Ik+xMaQv8EnR9gEoaDlNK1seknp4GQE4q8idzF2vQ0cF5b4EzwQYnS/ikA9xEMSlcaJzD36N2a2LDrH994wPF9yeuIcAuV24XVztKt+TVRdyTDvZdHX1ZjuMsFysyrOZyKR5Zv2wT2iH/wVtmpl5IciEDttnWSlQ//TaOylyB5voCbgnSKpHUCyf9e5Wm+GlFMTnOfl9w4z4a2K3fZsENHKsKrE0t4hXD1aZhgH97oQPXOPFO2JNZUPZkEsngoX0WmfjrOCtSYVsRK2yMnYOH2AnH0L4SOl7FjQpx4dGn/AXL3gr8fwxyDGR8M9X0XTgILKJ94zBdfHYQrEzJt2Hz4+/oiWXz2PnsEUJvBiy8TIwn9rZSgEOfc8/qfkSjHhj3gaeUDwYbCOleiDKhZGS5KXVYErkE9OZ5HXpTjaSEw6cc76sC3aFWEy+nGSk9+LLIOjz8xH80PC9bs6vp/hjgMDahroxMjYi3IaxmbbJ5ttfgiK7vTZsOszC0pbhg4tZvfUibkcl3mpbuCZLyXteONbzUaZQcFvm+GwpjFS3evkaWCZmYIRTVYhtVemOLb78+5vgxEXAx6L9xUzzCef8cZYJomlKptOVN6bUKhW7JXBR6ACbM1/w4r+wIkvsk9Pae4YYrXdgTdzBteJwNBESyj9JaiDC+qtCHG7NfqZ/8GnlmQg9N0upS9H6ZHKLuZ3kxIYKpHSFoLgfl2loL8nY64yGDc17CDp1mDwIauGtPzXbl74PLWtIj5P6pPpJifKcWxIVcbSzBfkPW8zUCOpnaPzn0i4labjTSWZkB/gJb1UFMfi29O/XI2SOcsi6NThvdlyIZCI3kGXbtUV41lXF5IzdHn8DkyrTYUNjQcyzDMNUJ4hrky8NYKuhsaAXoNCw/F3r4GqUCsX3CeXHVJMP++uFxEy5XGnOwwonQCVEzKf+uOTkYGYEUkd8ZRMAaT3JfRyzQEZdN3JujcNONgjNh/PcMqHusQ7KFVMKm736jmkrxAl1Jm1Bp3/Y4yrVl0QJUYy9nq5MJcnM0Vl2EQX3TE2NWkhMf8CHEzMc63CoJL+lK5k5pDAy72q79ZBCAYc1pz1qq1x4vUibQQG8o9/kMDR6asCdp/zURjMkD8fAG+JO5cr7jgK99fXgTf/L7bgXH5AHMZdoaJM6SsSeN5rEJpzGf7879m3Bn6Nd83+8uO0gyEIQ2Wwu94RBgXcKI8mx/WVkU5f1UUJtUl7Gdn2AQ6ZMMs6yt9+Zc0ViUzFmc0icDMfYAMDaYUGlQPBRimCitbyT4+f+Lvn2TKEL8RqPWr+JIW8zL4prU7wQjGQLdgaSjmYvPqOU4ZntA9I+ubymFFDugm6k5hFE4y4unDd7QK/zfotPO6+UcmQ05299V2Z+z10qniId6Cg/zKGyRUHVwfVKCEUDKwskikzGW7OB+5yBh7RoDRe8UgUWmToQonGepDBn0z1q/UVolEnrTYMo9eEcMldYUr20Z38u4xjYhaUqZ/KF0A1+NUrz/FgO23tg1gutc0fjQ+7J+xapdQWD2YDOc3oePmB3Q/guOMytL3axTHFdcs2BVygbbjSb6sqi9CfhIj38AJwX7HH7hJo9pAYHRSgAvR5yOpzpNXZwrS2dZKdxKACHQWgk79iufgRfJhtVKZ9ilTMHIly9kaMGBJm9HrVYyCSh81KV6Gou9U0d4uf66XLIHlRc8WvTgocPIKCC46n7nd9YM2wqxQZe2/boIUUXuywb1nEew0ixi6O9iwS7yn3IFUol+OR2AX9MNR7mUNfP+r/FjF3wZ+31uJP4VIsi/JQtyGh9t5JN2rbp5/NQyfbHYh8Sz4+c3Vrgs9lm6AuuZXk2WlTDhuZQvQQF9h1CtvKtqxdIx0cxbxFARZPzghPlVspyTxvZV81vTZlP4t10XP1mdlFxjMTY2kcWgC01O2Bx4TTmhGm9PANMwKab89K/YzaeAdgqvIfiPeHgrBk0qIrjw4i+8HFN9IDjBKm5GrUA3FjVP0OyHmYlTkL3QL4DQ+YDCxkQgIswOLz22rgoS1u0C7Vu5xgntWo7Di5CJr+n/0v06SS3+0hCuX30odC93uYdHbaUCEQBCAN/Zrzwed+gHzBng/HxEAl2uakwrGAghd8Nsmwb0r8BDq3KozFg2PujS8hKRmcYxyWrdfxRcDtkbEOLMrKiBtzzRab8tjqNZGYvfCWZ09nzbZUnwQv46dmttmKcaLNJKjs+WBW6E0LZfg2cfjlFvwpua9fkI0qc9q6UtETkk6hmzFqg1nXod3LAtSE2FmXQI+OXw2MoebHr+LdT0S3Lo44SpU9EtvmdJrg2AFJ36IDnb9b6OjQ3TIMiKwBb4GHVCcOl3layIDxAJLV8nqOUt7x9xyDDRaqpcdC5iKjZNUnQ528P66/7QyMrlTDlKkdnhz5KgHrSAnqgqjl59HBxbIpMfFne+287BXHzV0rean0uHzwr/bOxdFwAYnhuK2zC5eapXfIKqHiw3lORpSLCX5/+fQIlw55DKtEgxe5cPB5MDDDbcIiR2FtJk8pQcNh3/Lkjk0i3XHFyebk/cr6Q0klq18ke49nXicViHqFIb5zV+uf97Jgqmn+8Ho84XRpAWt82F/435G7M+tl6w8pV1A6d93Tg6G7QR4237j+mSbFYTX6dIoMHQw8mhJWwrywJ0u4WVBxMNgKAZ6zzWy1Uqts8DVt0Qc+yLzSQaFkNA4p6EoADeAEzs79Usx78AIVxuve0FHo5xxgRB91451oiHXmQmCBDyDVuhJJ1qPW7GEyFf44yS2Y33XpXDxD4PpN0dbXZSI+r/REgSHdwsX0jInk8qldIDr4SbyR9eNaG+nTUwevYRR9nJbMI8PJdyuGJkf8WALFjhGeVEjt7kT5+4Sz8aZoB48nAwSoD3lJeKvp8d5FCIWZh5tcQct5B0xQH5QUcIUM8g5JruNzA7qwoZ3KaeqbaS8pg8oWY1DhoVokZ3rPmYmFn9hTo4ZqA7fvt8HVeXL5nM9YSsEM73fl4kUC/zqggC6wTPkYBrxoIrsr+JApUOdzNtsPdeuzDgwxZU3lIGmH0lmnXAfzaDRD4pZ7PB1+Zv5Nckm+FzsXKsyiPlo+cvz3B/JdJB61nU+1nal7hZO0UDPt6SjzkgWwkmELHoH4l11vCirYRSK4V+RpZgqzwY35UH4YwbD1DYp4IirS823HjDVkiGsmMgw60HuxVb+SI3ecfxLhW1+6h2pzL+xOQzmEjfvm3Zclaz9ufuXfTlcerqMHlvjdxcXf56tR0W9HezE6dRV6WNp3MshHG6qbGGzsh5PtH9w1/3md/jEq0I4xqB5qgDhB9jqdq5HAmdL6RLZeyZ3qMWNx8UOYkwJWsgaRtoPZwOzcMYZbziTbquY0DvK7ewVqjRpPb1apB3FKwYUV5mbpo3RVp9YNtp9nA96ndkFgbR88P6+uGFj6i4niPpp+RcWD+v6WCd4Iax4aZB+WilTSpfzzjIG50bM4H4Ct58LoCgq30k6/sEzFPVNDivPp7uaUgvmM/zljsDRawJs7YBc3kEPTJa5Chdqw6xb0TDjH2O3E84wDj5NAifAsrwovVmrU4hhYFd+EF+dnxvkQvhwBUul0nsDAjtpXa9Z7nHIqCrkn4/Ug1Lj+9LPC4bVkg3XQUMhqhXBuxbVWdyHNtrSTj5vGveVcGlCaHkTxfZJaLULpG7YAtkU3uOkDu35PSZW4WLZOJyykPTsKB7ebC7GVVZPjbtYfLwMaZJEfxlpIlp7rDIp3e/8WAzmN20z9NrsTOUR8X6C/Ia7GhWWXuBQtyU95rV3nrCYU2r5lRTdl1Yl9RK9+lYuMufPdSsYQFf9UiwZi8E8AFNO+2RFJZ4BSgU5fYjslWXwU1hCCrbfAQTu/hUoWbDbMRivYXlwrtpTMBmZewr6PXcQTI/Un6IxPOi29ghNZYi30gkakzUZi1tjwIAnAcmYpX5Fn9wdQtewTPnB8mbnCGs7KKqOlqKqU7tapYI41SPo9jG6/1SO37Osj/gRXpiHhMBHZHe5nKDjnlFFkVWo4WK3yun5Rqv01J5lfI16uywVqLI5mL7gEZsEpOpPJz8JbAgcMhfrQ+wHgnLLKttmj7/WQbFkIQPwggziDGFURTAbSTJiXElsPlSprsO3TMwCapDZ+XFyOLfLooOZgd3aB/p83FMe2D0btZP6YjAE7lkN74Yx9ntARk5hpfl6wEbGdQv+bedzqFuyF6LxjIsVTasr1f/WiKFL48BB3VPMnGFQTP4QPjKQ44Ima1bUs1MUUXhX+tDUSY7kPfDESb34Gin+H6usmeyX6wikXCpkICrgIVkbAa4D41lsEPChg/1IH57ooCjZYBphC4ziZewJgtWA4uBOe7kbW0OLGsmdab+Kphg3Bl1jgrpIYg/srRYyr5qtOyK29SfuMef/qkINtoH0qeKuQ2jL4gf2ELbv4570jpSd78GYYPYViMVpbdKIogpLIEW57NfLhaTZjb/YUmlCyuqF9W4682XIUdTX/nfkXqyGQW6CyObbMJvhUZVj1crToXmKLDs3Vc4AdAAScSeVQj46ogwJBhQd0UExh6cEEJi1gelXhhejFeVVjnWHhnimC9NmHL2JAzXy3WkkGhdGs6OXwW2U06y8TTmAIxwVb5S+EExgl3rv6nTgAgmqD0hwdukUy8jen/YQORhY4iOX9L17e+ZO5HT5jFGk+UBQekITcM+nS6H/wRUkY3DC8BSuQSr0l3riS3D8TIgZP0deylMYfzo9IKTiF9e9gswFhr7WK/957ypI99noAdqSio4lvSfRG2V/sK15OtsYo/6xqbuTYcheEG0BFwpV57dG73Jr0w7A8Q7JUwmfNc//E+Z/Lt2b/LbGBwT/E3KGYPaWVqWe1m3lACqriGL+PROYeU2jk8OlffiGjFwpuWpM3Kbf5zQvMtGYSwybHa8fCxb4c0dvnOByRZjKjrxNjxSrQZxtRx5RaXG6kaAa7YWnp+c25eWoT4L5BOe1GMRpxUMaujV+bi95IkQhwbmsB9q+XftEeJ9jDU/2TLVsT4fLSwjzdmRwqVCA3ShjKBg5MGkgtCRed2K32CV1zgN4BQ59Bi671cdYz9vkflcv+Z/5jfbgjCEGJgKeJQrdD4OPqZTOsVCHAu0IB4adKaohvFXgYUZN+DbZRpQ4wUQtGkF8mXUJSJHGInjgRIG27SUkVqmDMAIiE4ySjJikN5uZzxX8BgmfGL1sXLt9FTk7R8EF1+tMktZf0MKqgqJbBMq38KgFzRAjnSmKprWeOp9Ajj7tvj6IqZUzeoUH/rsz3QZK+tqELzUPRfgTDM6dK0OJtpvJLOl/tIrUGtz04cVKv0bnp9oe12QNLcIYu3m1smQLJRRn18Plr1wfXm821dQa45Ze/UYsbYGQOmYJggODbC1k2dIYopSIF4XpmaEbsa7bxZ9oWRWKrWfjx14NFAJpZ/F1iOkxdX1FaG63Pa5O+vPV8nenvTzxVpr5MGyFQJd1afZlgvTjylknLkKdS28dwaUv1jGH4Gy1ylz6T0WrL4eotf1KgO6qq93UofJbsX/u/3bvRbmLDUyDh56Q69XU1AEd3ARSXlSQvkKveGmuULjJFQRdkNfTm4WIu3TzmjZqlNeOvqhEkCQ78XOXWVDiVf7BVN/CH+RlXfQ5N/fuiU0yuUIHIjsoifdvQnd+whbyfeBxtGjRsQvj+DJCioVh5rZyQ3vv6TDcdIoMTTO7MG5V4lEXbl/Sbw8l4wQW/Gl1c2H9bAZDZiIkuCw3QZTO+pC1a8xKJwlnoZSmvuCNkGmc2eL8dPRB6COn9akwEavGx1E9sM+KzY1uz74nKlVVdnLdyPeYqA7jYmf8q9SJP8gYhdw1rDE9Y4yR6FF+cxnfoAPlaHqoJoD8iViGp4UraeJa008/yoChFSyOcpfSW/ndJApLfbMbUf2SikXs06SL2XidE5DZqsf41aM0KlGjd4BbUg726qnusL16WQIBscIC7xE22/opAJ5CKzkHvRoKylXv4m8yhfmAw2tATxxhpZKnwgcKbphqhbJEdmXicb7/QI+KYfO/smDoosF2C/AhQB9hX3gItazLI5wQ6wkc41Uq9Eaf2uv33mVZ4PSfbtGa7YErNCGRP4mfUtk9hsQ2zGNoNz+UUNzxdzzfermmN1VlVj8jQ4fDX9EZThdDzIwW4TNmYEwATArT5NzUKM03Z4h7dsw6ZKfV5TWnM4h33EOdzU9wcCEV9wqRuwLN5Mh5mhnUO3bF6ex7kpbOEb6w682y4ndEuyzp/br5A3fLspNwcqO3iRi83UFXCCZcfY4wsIUYT48cX5T5IJrg2+MkentD0NECgkOtSjraTEjMOmTegahgId1rO99XNnk3MxsoOPg5/ogu+FFEjlHjsGt9UFCqaDoaz0+U4AIJ9nWvZPW3Nkfg9he/KTwsK8gSaudqybisDTcNS6vm0Xn0JoJcN7vCWH4W6p3AKZDEH6oHTS+sLQJXTv+zUb/GieVXQFF1o1MyXWdVuer6Typ+M+sqIhkBUTNLjUiJM5rtfl5DmxU1m7gxQEiDwO/COA8EXeCn02ROsKBKwUtvDD3NRN8p9rfeNU14OPV81P3xMCknMP7FZUcfUi7vCM1b0escRoHltkwnUyZkwwMXBjJ9V/sIYn77rqNXmlcGDWJOsUwPEhHMQjiLiGyD/tOevt5N6P/b9Sz3CrYwQH4Y1q21CdfyXqPqSO46Nh/cAUpTU8eW/Stbzv4Ayoozaor4h0ITK8E4TEflT/ZMXi5VSdIQAbVxfHHOaXPEJj1Zur0CMl5CVq4wlUakpYQXMXtgC1CMilVukfGHq+Iu5ZrvNTyM8g8oyMrZHbV/4j6CC9TMtK5Bk1AINDoP6G8MqGB593NG3gmesrPO7kEvch/EowoDB9vg0V3d9DcDwXbW7hze5pUjz8CUdRqXFGa8mEBnU6K1BqQVdN6/GwHDLJAEceHXZPW17aq8RsVvKI+4jLOjyTlpeigeSkmGQUVjitLwYXElHgHg6PDYt86hYrv8IJVeumplBxUv+GYHVxmGDvYRP8EIAEYWTY9iTnFWK2hFTJqCYJH1vD3jj4tdU0f0AA8AJBEHdO+871gdb4Xd7F6b3my2JOSM7IBbLweNzVV7Skm+bhmVQUaskyN5gqxsS/orBsAa2IUfpYewPLD4S7N24avEy2wbt35BEWszfTRZvhyAjFDMYACyCx1886SBII9jpOM4RLUgqz5Fh8gXPixrwme1lv6OlCiMozSngio/fg7hDugtGhujzUhQlbDjJmfmnS3dpr62sqR2yxNbomipaaAtqv7ffxpKbKHaVpvZFv+x0J1MyE61VBxLaLk+wgfopEyrEhk3+TwsRvFE3mXPVRUxFW4f2fC3KorL4quLPqkYw1GEwnFeTz8yQ8daaMCec+9bA8hCRZX2M2oU+K+TAMzT5CSwDQ+kfa1gI9lGVzQD/teNnYySaASbkvI8yEY+++l0HAM+r0SaBkHkrXWDd7xo91vVIZaJu7qdD7BJkU8ToiS74yQ6uA+tj07/0K8vSLEhT8TUugiy/cW3v9ZA7rjyTYhy347M2keGGHb8vO5c3OhBDU/dQINjt7FREjnAnzUznCYt4z5Y91ny77xj1wBeDLE4NiaG9aFyNc8OmF1MGgwFcbJ6zdHairbEQEnqYWJv2qcCe+a81yNLUh6g/4yoR/TyeVHzZjGkga7urZl7IVKie2Nvn4zgkLbFBv5ewOUDguWDKkOZmT4wg1rxTTpMX/uRcOvmDVlrDUqYuBFu2K+823pmb4y0lBMtsFhZcKdF4Fl6g4PVGD6ChN5Hnz6R3GRTA7InbbifXDp5pe8U2xIp0XjvRZ47KuyFgoDXSGC23HjUQJscATZylFkI3JPZ/kd6R0QhcynVAgHZRGaE3HGu8e2fV6zOSZBC+96F6/HvROnBuKhQq0s+4NBgu7HoX1+a8IOc/T8IPB+0qY/uobEF6Ifk5vomaxEIMMtYeSO3PdAgGs+Ee0XCq9SEtKCYYga9fXdH0LSmruMNOvxnY0tS95Q3YEtZdhI6f9+wxGCcoHp4rUyZF206M45j4IKSijnnxK3V2L1V1GxjrRM/pRRpZ3kq8F4ODycL8xDTy76x7rkgtTcBL752MICvT9PYDLMmi6nynfPb6DXzZwnNAuZ7+swOS5MxDw6fc8HrTOYj0G3zkOhsHMwkFriIo6mkbhGYEebR8ahIU6rGfSa54GXhKX8F/4ToKl/BQG41+uBfxhP05sV1ew+2NhKzxv4tRcIOkGaiCao59RvgyQrsTsV9F9LEGZghd9y3mefx8UaXkjsqUGN7A9CoBL6/u6rjum8G05V4/4WRfxUj9S4G7oFEMUG/jn5IGEa5yGn/JXjXNIzmTUnSz6TAxGlPMdyJ+RyM/mvfx98c+XXyW6strOO/Eo5zLRsvpNef8Uq+wmKa7LSnw3SwR2diVPdgmkPt3P+8WpMu6RJFJDAHVaWFB8Hb26OHZ4+b4wHVibW+PnLQJOgmOwAry3SdLG0FWdpDI2SQ1PQVMAEbPJYUd+GII7eYQHYFclDqgXDFZfgvwpkVlUiGR7j1vFnsJT1dUY1Y4nxIfoExLAtz7gKi6PhCemYKZd8pw0Rv6SM73NlFbZEqnBc2DZjP0Jo0ONYrOhtr/+DN28R+4pXKnr6F4iIXFwhYix1uQj3Efs22YNU/WvVLZXXeeazf+mSgsvrdWQrc/MCvBq8f0KwTVQXnG717kSosVGa0ucFXUS8KyOXdbhWYLRbP6rt6u6xWpp5JijpNAMmgnQWVvVjcedf5wfnjlQzfAwhTqJsUM2IITlpnzMuHoGcCAUW4BVPl6uDAz0VFXyCY0L3k8JuAMFSHZtoge1s3CKSNOoU6OFt4SZuL0T2YKq/UtLa5v7DPsxrSVfycVFcFyGaHMUuHv/Djvq5FKi0HIZWZC0L8ltb6w8Bu1ozB7+vO+gYPiIk3KS9B5mheNI2dRPN/gVEyZDOIMV+Iq0e8tg3o1Xx3dSjWpxaKYx7vw1PRs7TF/OMb0RNQAd23cfi6GSj6YwCdNTnxcvXi5gscSVritmo6mXXoECyvAkmyDyDdbOWdJ6h/8+k+YeLzy+//IKhbZoPwInHMVNFkrCYVoNVMoCovRddaAvhO/UMi5dQDK9ypmvAfgWLOANlqbj1XbxvbBvJc/JMKVM59859SqJ1sZ7ecqoO4uzL+fWn2loRIgmX+C6d0E7DWBONSmTY0bEVQnKgmoOSdIghyCe72raSqntWOEO81UZjAmwI2tdgAV36TSmvDxVayraj0iNeKEHaG6FCD2Q0VZNWDjdvcU/HJOWzbvAtzFj2zQBMBdJd8PAc6gZ4j8nP+kaofXdtDEFOHYXSPC+cG11j/E7giZFhJmbkKGfIjhnji6bi8yQThvRdR0vTXuVPuM6EHSwi79I9uV10rI1SXmcpjf6ZjxvKdY+1JYgOThqCuUidNZVSf7TkH6/XELqA3vQRl1ydC2Kbw57qi5zdFnORFyKxBI4jlA0kOQjn0r8e+NSWYWOO8vED8EkFQrYtFrB5OBXRP+qKdFIjQXrvYN5YkaC9mLDjEltx9lUFmwlshT40/R+aYEyrN2dq/11Q3A8cvnBcR4awba7XO8ZlcQH79D0qRk5zthzW2fE13aSkpgkVNwSt0hji6Rp9BlIgxBtDE9MGGea/GBXe2Vtix/bfw5yDlX9VOikFXk9bBGt9r4dD6+5xtS3riIt5MUWTDVOFXQQIGYo/ebwuQlSS5YZ7HLdZ9OT0Hj75aq7ireI7HQxayd2koVTBnrk21Ej9B0n4wC7R+FBa3eHnWRgYXJ7mRIbX1AYlzsYXnANSmIka06ybkCb98TtmcqbxnlU1Ifsv59BRDFHqLo734Vu9hC9tF5YeIPXTIjgZux3mg4vtxiM1nYp4oAVudRFtCteY/kcpPT2Qyd+ALQqi6iFdTRc+AQOt6j64OaN7xmZrWp0oEb8PnUHQqW+oNESQjXKJyZV5sPpBnSHSDwSBXPvFkqT43O0WB/QQb+e7cQF8C4aCvcjoqDlMs/OpYDKoiQ2Pf+2a5CXbZdatUrIkAHMONEGcYMKipbXwVKT3HEmp+QsZLVHXQgMoBQ0IvlrR1QH200GM4DELaqUIrybjJEnrFhjhlU+84q+K3YaH2GjE59/S0W69yeZXr6niDZUaTcqYjemlQZVhfcwX+gTIClq1PODiPlZYCJGRy6nXmT8HRFT+hImFnRujc3ZBsG5g3HvauqVnq2FzecZgurTh2I/JLvaVUJa1qTDf5n7Q8jOopn3o53W023nzfxDzdujkOqJg92J2oHo9gTZ/Vtvf6ZhGfXEbZKLWp5lrFicW1MQNNdF4Nd3fYJUYpK8hqDwckEaZ8pKfHXqN13IoC9O07ascuFuQBHb103gLPUGA1mTEWfW3SuZy7d+yXASf+PSe2xdvCvO6mCbEBCX74vFllBU2qAPQDyCeULO/iK1TMNWOYBUPeteihZiY8vhG8Qwk2junNejguL6x0miHwvQjMqH37S/F4yP25A8JSgu7mA0JEgg25ka/g2WfiX4k7KY5Barx5Vo/KCxYV96+ApazM8aPzZvjytrAzslk61dSD4raZRx1EY+HqQQrGlixUVNvGTG2neE9uGupom1ViXedeMtINtlHgYIO5NUry9SUk4kU08rEATq6cWSfinBudgpIW+yzwPikaisYomMDGYBFxeT15XMPTergLThKD/HFGSTx71CEBunId+vOSpEjmJ4u+/qZQJLZ0OuH8xGSTMN6yOdIBrWhAlkfjI08kHpuvzWzYGPmBP3MrPpfdHqziorGzDJ/T0GEp1VF0sR8/11UOfsYOccmzz6gpz458dVDdTWv6r4KuQF0EJ4mQ25xkKoLHbupKMJrH1kURAPh8IJ22+EYXjasa9TNTMAtI2qoLDRuXb/FP+GQwgFdY4EUoV6CMXeZ9HnQHRYgJ/aMBNosKSiM2BBQXO70LfOUJqYYDYQdYi4uh1nFOKhUEpFm/HOC3rLMse++bEBiEzkUjO44Af3v2GrnLZ0rrxrVMDPuuagjrSF+iNkwEyHUi1Q3lxxGLjzAuZw7sIm/glm6MHB+WfkEh4R1AmudVJamo1wjf/wJxvvraITKedt0yhrmYzeYNTbIW6xFL/Pdh1K/UNiDOHz21MwC7RA3uFv2U8XQMOIaGPy1/d6L5u7EVYUIDTd5eJ/rks9laq3MbBdOLkI2STlMcKfK8c4CVsGTbqmwJteGB6AQ6pUnhOZzPE5KIXSjtmbhMqtgHVtN7YHAlYv/MnWUeXXrMH3HdL8auYgPUAXM4QyutNaPC3XvzCu+RrlQhQjWWfZnXI/r7S3wepZ0ZLYuFLJw7FyzDQg3FLrNme/8Va0xxjqMJ1eR+TXH3DO4ooA6QmmJj+HpEOpZLSx+ObOPhkmW4afVv44yL6EqXcKCnLfWvNJhxXaTXOqA2KJhttfwZYTr8HuqVGqE+EfOnqrmBSvRtzkhgv3XP8H1XnJM+h197fXyHUSqK/lNHaH8TQqz9/dJIZ2G1hTHx4DzcbDtG8fTiccQOw7EjgPi8LZlXiNByZ62DKSsDGHtQurFmVKbG7TfxXJLNK6JtzdHpUeTqK0yrPC0YIkIftpyEMCOp5Si1GajsIAOiO6xSfRC2mEpCf6xGbs2V9Ai7TY21n9BtThiydJz9Jm7uNvl+L2J6wvkmms+iNuD0Y43fuaJe/psnFATRD/kr0nVm1+ICbxVg3LRuHQhkK3rBwPMW6AaqyV0w9FRFR7O6hlfjzz3XSdZ5lwS3yZiT/QsZ3A2Ji+X2BZF9K1bjM47bqFS8wT79SzubNT3Ub+UyUFQqOmG69tGGh3/EcChWHUuuDNP90F4CwnTwcy2zveCWNYThASWSOGt5MLiGbZ2fykHvgT8XCEPVrcJbDRYPGVOH9oSAd3QMwXy9G5N4IQBHOAsWcmuol0cUGn2ZIP7OFKV7S75PY1xuZrzKmwmdl1CbdYPX026P9kW9NYmoc6D5oOQFVW9MsWRG+cKZVcKJeBXLWTQsqyoY11dMIBi97pFcOczfIymV9iRqgBhf2KuxjpJfQ6sqGHE5IIKqqwofBDBPfK77hsIe/VgiQ89KYYiHUZOOUq9/xWetMSZOmP9FSp9SJ1PfN5JFIBPAnP2vQYk8g0zNQZTvAtLdQ2M9oMoK19DvqCDj6YIkgq+c9yE6w1c757hO/1n7y9PUOqcU69dS2VxpaeO15j1Xo8LnYHqoKg1rji3pDpiCey138AKOCJH3/JZEp5Uxl8Swjy4sOwIXPMaqpxTm6ox5ZVetd8vX5bZg2chnvaW7kaEgc+gQvSLRDeUa55J99wsVHNJGIk6mpxkcMRXBtYlpiZnCe7K38SCL3TB/jF6t7dJLH5malGue3GIq8b1WaPEPOx2KT/+a45wUcfKppP10flxukfIvEBW3D7RZrQuNMYUSaQNoDS6znasSCWwG9mOTSWXasy+WyhEum6pI0zHVWqM7SnwpFO1CHsxJ9YYRRf0yC9Qn+iUlJ6pLK9qg2VS+0zAOQlqaqwq3ZwzyACgGMhTmcn1Qj+IYNkNq/+tHiwn0eZ/IanaQm9Yvu80HiArGRe1oyickvWlkW96yBeBx2bQjT3Zl7SL2biIxk/jJtmcWxkhFl7m2hI/YaDEx+giQHa4+TrnCtdbqoJjAXe2szo1OniraGXTn1k/2kZKIbOZEopAIuV0/RzxV1ufVN7vpDAg06WEkPEfhlYFSu2Lgzjy3gnRoApRgCFthxjphIm6wAzkydh55WnvR4aYsPbtk+sSjpX3CqAdpOtF7U9SWg0l8/fR0I3Etw85uDwwei5wVezRgY853Ew2weAibgDr3cKzxwjnSfxJoK9lN0oqY+S94jnXy3j5/gVGE0E6tmMikjWnLP08VoB8qjZLwIOXzPCqgIqnORrX2Q/KAw/gPgS3e0BqaHBEWKkSAFKdgLjL+pom+zt/Gp8Tzx44AyHYtzP8ZfC3fPwVQkiH9MCMGDoDp32p346y/HvLYC1ocfbZW9Qg29SRxX1941zfuaUuFbzfDysIT2V4fe7pfHhaN1gXCE5HoHfkcu6XwndTd6R6iDQhPhSGxLyvnqBjc8VfFrx14GGc+xkW/aegWJtg9xq98+LtwZmC3+wFMYQJ6qs1TtvMrHPfjjJQrIqT5mjgGavcrQIQFLtHZBIop7ePL8V32xQ72u6PXYzVwG6SNfUTHNapnt2VIKq4R3+4jjbVyl7kWFRbRfAMZbFe5XoFGEAOpDaJ0/0ezEa4YTYgOvhiYdb9EA/0SVA+r39RPhvxJXWdHbdszL292tVgCzs+lxatZaIX+pCGRqZKA1tcMLGwVG980MYe/01isJAioswNLa6rqt2WGGRqsMGmckwlW/UNGKQIHzhQXtjbczzbBxvR3zgLP12bWhMaflJIfmZS1I05i56ax4ahvI7xCX1F2fi5SNxRYLxUK7HRn2bfO2ixjbknTY3bJKWhk4issqZbYuy3goG8cdNOvi68ZTK7w+hm4WqIkUF4daxVVZtf2SP1zMyvZbyIQJzHxGlkvfNhJ/q9dn6fH27fsjcS6Rk0OYC9PAZwx4E3ZWAezObybojE1mF4hwdaDJ7fbnhSvCUB75aBZXkXVDWNkhx/NEpIZdvM2xFpSQXygHBGX1RPRPb+Xv2Q++taGe/Q8O6BywtZU0BY13jdwMDEn6rgxVGQAYaA3z04XAofkqyHcY1XWAERnV388Rj2tVjnRxoVPEy4jXjCOwx/E+zjivL1kyH6wG/qotcPQsqUKamDzxRvQ5OWFqCJWuODRbMcihbnqbbXTHVLxiPIyjuF0e/SbCy0VDDrnYCZ5lhReqRzlpsZ02ld85Gwp7JbxItS+DKcVfnrCue237Pk2VvFVE8A5CFeVzqh/8Pm3i4Bap6apUTsGQ3Ry+FaoDgsspelbXZ7c/QPcdCLVwOFSurhTF3QRWpoFMn59iL0Rq8VIpkTQA4Y8FB2nHMPmkiljHmXZC7lZdLKWA/ti6Dl1Qrb7/QujWk7IkV/UZLlJr44xqEf2hrE1BvJSdYVXYVWvWs0aoa5svR7OEHN3iORJDHOkmrJ18a4bDEj9Ad5iuvadz/gBrFvKUnx6ir3dAn6xaBe6UZpr4ucWChhh+XyXpYRWR/ZPDA91UW4v7fgt80cVALOVCjlSuH5lRXCIzJo8vQK8orJFhE+bcLQxzOiR2BoxiVhgd+NWRbYCFV2Z4MWqioplcfEzRygKRkonrFSLoZVSYYLdRZc255uhlqd4vCFpHVRTJJFPYzBIqogu8XUsj/7GEPpOwL+TDeJKBbIWXAh8lAWcBzfMY1Q3CBYk52D68oMu3qi8und1FlxD7fPCXDFNizK3J5SCJjn7jBuFgy9rDH/qLAbSQgNpUS+XZPTzA5r+3WlS1AF14GDlePAbccgbzdaXewFdElP1hRqwW0kIm4OIrMUTOmhKf3JxlhZ19RNZtuRusxl19cVPjTxfpPcr+wzVvOgT7G84406POXgsVY33rlmHGm/6q4eXIm7KauUoKSUosP2etFm4Oi+LPYRGIEySokBdJofvAQBIpGhjQMeVRcjrJLlVm9zG//lOLfRP9qMnzrwQuK9WSi/3noIkcGsPe43mZ1ckhFjCyxYzxTOkXw8jseP12VhUYB5qwK0I1L0nueFhFG6hUGE+HOEBcp2hyZyuO4hqYGkTX0LMavYOr9qmv4RJ9P/gx8MoPMmlToipKULnR8U2BcLZRx+/3QdcX2vucor3qkV718rWOpZip86J2NCmHzANJWT0A6cId6wtTVzVFVQWldAl6SDMK0vWq4RXtdA50oBKY5HfWQPOfEI4p0AwRPip1+utsbybi2xY7uxjCL4k5nCX3KrlGiMgWsXgPjC+3Ik6hz7NQTjH5eH0eyJPmk8LSkRjO86LZ3KwSjHAqbANAK/rfA/wnG7kUZUwgj5paHrAt9NdK/K3lKFwdUeZQqvkoi3VMDghXMd7LjnchD/tG94vfHhDlRDpQ+5F5yskvESUqF+9nKeMb5PBCFVO3UBrVlAMdo+wvWAfFTzRr5MMpFvt5KOMzUJIRA646AK0aXCeO99H0aZis3f06q/YaR6M66WD1xjdEcf8cJM56pNypxbnr/FTQK3uOzNBdcKR1GLz7yQXZspc2K3r3s+LsZrkvbufRPXeZVac0fXZyqHaoBwh7C4dj7Lyf8PQpAPJKTId3qJM1tzVmuNolw/fZzT8f9122Rfx4h4t0QxNSCw5n1xxagBM0yf5kPoup+3zGub5uMY4vDp0d75oCdQRcOZWz9tOLsxsKNEYOB2PsFx8dc6L1NTq2+Fcz1GYNRrOyKouiOfDD+m8/z4k1InTTf0NZ+02a20SS8rw0GVGH9ZyJgh985TDAXYbw3z0MtIBDA/7FTnAy0Nsi0QvECaWHegTPIYri9Bi8GeAIjmS1a3bQG8R0id2H81HJRleSI+3CvffSlBoS2GRrJwsdyKlMhzMFvErRXkSJfPPyo11F+8gfTLCEPJRRQIlrryIR18hXAwBpOfkQ1pYn3s1SvjDdJ3HZWxerIWPaPNsMGiPkm0utFo/DcjAqXHHJWCM3QVKmAhIgNXxFP4bXFRKo/EhYeXipvluG8Dfxt+/nM92JsFKBSeNLipYOCAl0KPb4bnR8nFYizpRtvmYNIsdyUJIn7iNEGY6aPJMp6Ib+SutO7NY1aFhBWSEvcu1aD5laf+0YwUsvbKybD2PT4G9CBgoHTJAyPmFKNgdme+8HxEGrVkkCtMOCbfPN0FLlkPdvgoM/pvCNK3zuXIbVhot9tr9WgDDQAmVr++CZONNm/c6K5pi3LNt9Ce0Mx+FYTZO2w2tdUnq0DWYWT6qmvzI6tTy+eHcFDohKpqdeocggkZKaYjT7uTVl3iujcIG/4v6amwBZVTPIwArag8emvaCO2FTwMxCh5T+AUY+0nPq9297Tf/Sj0xWsF87FABPWcZztPPJuZspHzTkc+L5OsHVfoPe2O3pi52A9NO8G+H6YTX5W9BAv21bJxszo8nJebJHgRCzptn3u2EdraRCJJRtlnoBlw95yfttxS+Y4gpdJmj48E8HAchg/NB5KCW0qe+udpypgVcziE+b3vDtquKOtlCQ1fK16rcXgU+NYo+T4y3nkNZ4jftACmh4yWA4N68w/eDxshHAn4zZE41jmida2V1YS4FaiiEnsXSuVSJUPjXDTtlz/oSM8kaX9z6li9Tcq2G/bxg5YnxJ+sMXhcbxhhZlW0DtZW9qAG86Gu4HWAi+2c7Aw0ek6rgWmqMMTcf372+EzUL3JBcIMwsvh2+uVspxrqXusueJtl4AiZ3iOfIDO/oVzSe1eqLgoYklhnTlV5buq9HjF+ezvh2f9W4H6H5fk6ZTlcdvGgUhoX9e2WY0vsZEf5ZcE9cUuY9/lvUJZA7lXa2AzsCObI345SbaUu3vD4XwDg8nu3m2Y+PcNGvm0xs146rpJQrNVgu08tIy1as7uYlx7HGwjDw5IySSDN3slMWKXq1GtM4RKyAc+WeloOF5MCVpYaJFKPLPebNxiWx0A5/P4MldYPCkXIZc7/cgeyu9lYRh0KK7Gsf73YaEDoEg++LKd9W1XRAKW1eMfWyvxJJXLP1iQJqjiYuCfC+t3uyV3ZejQcgi+1pfwOPrVLnFo+tnGvcrh2aR759klVNtuQZyxQucB9xovCBzVC1mjZ8TZwEss022FSCflKlgD4o3V3zX51QfVrnTYzYCAkB9bTq4hBk4NBUwJ3gU13g+YTlVkyv7vuV+QqTKmwq1OV1YdiRzx+Kqz+XIJEwGge5TkUdZk1gD5f4ivJNBBUGEfWyyzS/5V5HL/6ovAYloLup28G4suOxGFq+jVPYizJLgwWJPdZc9qeZFSDvLeOslgLTqJFEhcOm3SMEvZRFeh7EstdvWIR55Y7pU9mrlIDFEGPRzPR2fBtmR/a/O3TiXMCmnyKwOxJJA2glup1j/05TlhHoQCOBBgCMMblmlwMwE6cCGza0gPPhG5Mo13R30KQoSTqDM0y3xvmyTpDni6WDMVSLtgfZ6SrzPAQm2Gdpz5FGcSavj42minOFOaiSOFaShBH+ij9xew82IolBveF1JrOXlKvsAizPkXkywE83IqxTuPnqaysjMesdKd2v3azvtkntjZEli+ljXCbcAyPQrKABGASCcHg7OsuAf2P+SEZ+Nis3dwTDggU9cYmZJbL9UzSv/h3AR8+Hrj7apQTIuPmMW7e43poap4PQ5OU8nANi6ZnVW5/nF2dWj7n8fid9BHCgTEWN7QSlNspDRQr+ioKPioq/qu5ei3Uwh5pWJ5ANib7Z0bnGHDGkMPa7Otb9i90f1n6lSAmFhcXodQj/W60dEeihw/Ra9qOT0Z7BrwTSbtysImE0C1yIBPso2go3AfCCH/+qvRDECB1y+he3z98UEU+B5tWJcjUyWdESxBe/V+xTW0/scDbho5tAyryZUY8ugG93Q9FZQZsLQX9ypBqZjr86xQdZgNRdOex88zIk13OydPnkaP8fXyiErvLGQhsBzpzWDZOtc9sKarkOliWwM2FQx+ODHLGMg6d+gaorUpQIFkm33SW3SFmv6qJLBRvnuzJ7k25z9ErM3l4FaaThtygiXwiKjVRPaLgkCDQE8DeNdmJi9XjfMLH108/i6X1bSo2w67q80FkS/yTBBOR1LAMi9KILpiVbbZbie7LbdQ+LhWE5NsELXTZCduP/qhu1tmtj/+Gyn4iRZCOxu/tZ/8TlmjN3icjlceWtIscueZmsS8lnofBEOi1UyYsjkeav740JNCNUcZODhdMJJzYybg0fuyX6dUWib9a0wVdcx1bftzkTdBPRrrOj0b0RuUim7wtsu7xiSBK6KFvfFyTFQrhxi0YPk8r3VBicWoAJmzqQcuJ66KR3gqVygNcbeNPQ+jyKMYffN59xQFPOj8WTepbmtKiCCAXwC7uJ9g7y7ZD135318mQZ6HeuixevJFF3qFMUybaZ2pD/GkYiqUsnKza7EDdWegS6w11kTcwpLkNbFu5reVD7VFRZd28Nc6wpXbWhDqO91E8wpflvH4XHNUNQwSpMPexuvMiWcMAd65hkT/WGnRKRu+rtQcEVtMKxE8r+vY4cJ7d1PQhm7pFMoqbJzBa7W+8gxnfMQvUUFv/bfsFT0ve2aQa+zBstYJZOhWdL3ncausYnaWH1nHmqqoSg2QdxiC9Dl4TWpHwnrJsrSqAKdVWZXDIPwnItmy8tP3ZSeLBSW0nv3ooGoGSai9+D0Ov4JcxHHqD0Ay5w7yw1hNqmGKfd8ZUA3ewiGenx7pjs6ZrQrMV+HNKYWkGx3r83cFKJ3HsO+Okk9qS3n1WolIQj6RfSGk4LgLvwheERshiCUCSec8LHYwUPS9PLGa/zkJurnJNZbyvRqDbARr4YfbOrmFPhfb8V5w0uTkIVemR8Elv8OlYiuZNKg/4oph1Ix30+YL3FbTAtCexLzfaPfNvmxBaMxc7QZPBJgHcMEhuid6Qor/ZNIkq8fk6+17wF6/Z9qchhzB3q1m8toHTnFASE4P5DEfjwy2zl0LnX8AHrzP4ONnuE1XYoA+F7pnDTslMpjkeI/I+ly9XLwcvUSDtKmegtV0W9pKMeHDQKptgKaVL6BEM816QAAz/g33JzDUtqi3R+G3if+fVeJWA9VqwaRDHmyMvio5wQgHefWzJUFnR6jzs+r/zad/JMoMKXNj2E5CZl9QJHr2gtpujJrQZtQMmqFYCaFNhw7QV7Ykf1agJBcGhDZvrsS624Zik+K3xAidMlarEkvU2rqWNe/+CrDpXlW1e0z8OrEZq8bw2cswjF+7FHdVbeokWTt8IaOgQ/8MQF6o0COIH8MbeqmAtdYugeTlnK0sTWy3BJRePiIK4Lab9RaMvjMUZPYHGzDnVAib6oZpTFZ6/6e1e1UkhADFsmuDKpBhXwhOI8ncqLmcKRrp+KNgybAjJGdOa39fOQQyWyYzSR+n6TOKlmxVlEnHTNtLlEDh1CyZ0SXvuieYMZ/NoCIBNP6gaRuS1B86nb2tadAunKw90U7OtvAI9BqzLDmVkHFcYxCV+r91WGh0s5e0qCDek0TLavigtoGI4ZAVJKPdr2FqT3SJFrpgQB8W9decNa5oXl2xsD7TYPkzllycsBelcaFd/hkofIinf0n939lcNEUIpME25ItSEjs2HvJvbsbcFhHUCcudV2uuBusgXppV3CD/s705LNw3SKIyA3+gl4Bm77Okpt692bhKRCxgiB3EBJf87EE1n97sem6Pud2WtDOAw/f+GWSRr8P/J/5gbfofNGNEJw5doyRcNvupyO+vcpxo0m9f0yXyBo+jgQKASAaFQLAeMn8PCz2MPzF/nsa+RAsCDccjcyx6+/pjBY0NpUcrH37zlxKHEoiCZoTI2EhalDb5xwK7zxEK0LtNp2SfqnYowG/Pg308INH56Qqjij1vtV2ohfyVYOa55DQMpTlxisEZXipi3E4RxCgGKn9f0I4s9uSTZ3JzHsN5ZIkPJkBxNKhHUD2njqkJvTn9XKR/4F3H/aMk48oY5xTKdt5s1ypAlCpTPPyTYm23X2sMW9vv6P494JQxvnaHvAUSaV0Rk2O4xfSyH6nRUyyD2kmgoznIke06j9EpQxe56eszx+dVAvCzfA2hGXafOmcPg2MGD7/zal5E30T2Gv8esykPByI9Wgl1DK4jdslmTih2zbVLv6+Cev4zRrDdklwe4x9Ec/3OGxNob/yg1KxLtnjuid6cdkRnR2LqfIfJelFQFTVeEyRKeLN+6Ghb+yPWVXsZBmJRZbELoZZquRhfmos5fB9XoQ3s4A7h5bOuaBrIuIKK1oElVNqbZhfdvbUad4c85WPp3UdWUCb19vnlE6N4MFRVMNeVrzgC4eiC3nchq52g/zgV6ACtRctxNtEQk7YYDbHMLAU8WrVxaghiRCbCLB9eVMCGvDXoEljyYVu04U+TJs2z5RwQWwgv4bZ+fe2ODzS0vrH4nbLSrgKdMCM/nG9VnYfNmSXAFpYV5S6YJDILX8dZVA5+hlauGV53iH2s+aQwMsUPjM1pt6nm7D4myjsLQIOJhDznG8gIZOiDPUL/KajYoibZWbNcat6iUJXYOSUPM5cmN09Ey2T9K8DyFUdWRXtr7bYrqYlLKJ2yHZc4EGtraXqyQzkKxTVpUAVSMOlfs8NJq7B1vJxyjfAEIl/WSz0ctS1sYj3hUjbTpNzDkGmj/Z4DNlnT6oCt7Dbt8JbMlAjvY/ZFMynYnKDDdmDU0oH6Fdkx853aBk51hI1fNDEaKkXKDG/CbbF8gPS3SVX1yNMZ1HTP9OR19QxWEG/idREKSy2vpzqQdXwvK37mm6CVj/9Zn8bpVczdIbrqaDxP3CE9EwqztVCMYLcQ+hVLx1AONKXqtneaTU1u4ugLFsKXtbdlT7oFpjmFJ1w+e0+gbHJ16Isi7BnC96K2pdiaLrhLYXGvaDGskUF3Lg4RYUUQ76YcF2UnHL1r6mV6peg/YYwQOfNMkOpf59ksBIbR38UGTk4GgysirvCTtYPvkAZiGms1zOHX2QY5e2DnbLGwRanOUu9yKZOJaPTg6pbVRKP8bcx00h7MT+qSFnpE4Cz7mdoWbB9F93fTLAYA+IviP4C7W3aoz3j+eY+WMh7bYDP+5TQwKo9UDhXYkFeqg5uh7wM7lLV+rWCOq80XeIFTGQaapNXfZYEGIe3arsIFTMNmFDcLKMP3JiTsUHYsrh1fpnhn7FTnpChK1Due0lSL+AsgLK4CNYW8z4KZCTYtu1+25xmd/xLVqynstjqkJ0bY330SfbyKdQz1LzhYwtZXhck7lhQBI+8ceDw1Y38Kqhrr7JwkxkG0RYfCSnPDZ9WL/9g1cMdcSxD3KMDfAttG09eZt/CNEop5LgEXTdwCtE930Nl4d4veKUl2EobbwzkRq90xetGvx0SMcH6J1IxQW4BEtCfvmY3euQWJ/lJMBR9WKvyN+ZeEwf2XmsKUJYGUquxoYxHRpxsZ+zg7Quz2JERkODH65NYdhsDATSlHiRDfKeNUWasJM4fC+Ca0YeqSJSRvUnEjITjCDa1XT0igHITr7PkRBwtNj4s7qjr5CKBOF0/AEXk6xePu0ltKx/MkybFIs7Ig4gNogOgPf/VFcAcmyYuIN55/ZUUmrYrWFGoZS8KkaiSiQ31fFcBk7MlRPC2APNZa4EGAFpQiuBWZezku2Te9fufaZB8dzWsHGM9kkVgdcrnD2JZIBNDkDYoASpCuOQETfAymol6Hw4CEMKbjL8+KfPR0OtLd7Fj+6RwFLCPZ+6UfoBE5TFPJygZFrlCnb8fUeP3TuKFLtu7/53JDLI1iIQaD9mXjMbhRTZoMZ27WMCTyVwaGCJ2cQMZrHzFJWQ0G4b4zUnlNAh6hBy9WOPbZy9Y34FmpErCaB1gEozD0aprrtyJ7pDnycbMYrxyLmZGWdivVIh5kNDygmBV4AqR9b5VObd2QK8UGnFaETBMxEFHdykh76l+U4s0oVvOL+90V1eiZat6G1Yr70ma2ErL7hDGKVomqZLBzGvqucvR3WFVqpbRmL18a2B5oAPXIKjuxOw3E6UoiYyX86iPHYvheX58J0kDRlvI/CZ+X/WzscXWIZqCKZvumCk1Nn8eIzg6UCwNT+pVrD65zaQNHr/YwHjoK6dbQenki8ayV1Ds+UlwMNLJaBDet8MCrOiXrvAb50jFupnqZJb9DUhuoWQFNzLy23ZHVEeZC6djGrF3THv0MeBtWf1OdQBwM0q7WN7i+ufcwC6dSdDmJzIKDJ/GYZcaG08WHNodsh1gTxumRGy2vCeU+64h4/k12awSgZ6LdbVk13THCNGb+l4mbqSXDDfZdn8zEagDoMtSJDfoj8R8Eg/ugSC6BH6YAtUXndaitajHfYfgGfIhja5zgJxSGLxvpP8FktcYECfyoLgYmqPBbeIeZX3PU0Rwm3J98lT3XDbbc/EDqbo7rJJz5/UbQoUbNiqNgjkCV1E3ZFvxUsGn65hhcn1CkIkoVyymiq3TRSz5XVM9zeIicQbJXw6nNmLhyFZ/Wp9U3RDfIHdGvabG1Pu/5ZoOqdASbvdU9+7g5WCABNR4ujoSRgtc2FGce4kzm0rtPRC1nRrW4LbcyEQ/ACvjRtKvCQ3m82OX5Q6nSlvLmvB+hXXhy9g8/c2fNl2BfpiobQnMacgHM0ZXwi1L/6yVCmq+vADhq9+p3VvwD4lFShw+T3gy1oJfWuY511yvmJfi6Kh4/jH1kC7Y3QlR5Hv0SdmbIqK+0Ozs2nvWSe7wN7uGYqU+0xwvuM/rGEYG4uvpJtqMUBwqL4ZU3w3hvjt4fh+DmH74vmxOgBcCureBHcgBpEmi2/RXHL0B4/z3KtkGx48p7zPQUoBJQae45fdZosoyrGPJUZsdu2uggbqmWtCK+UXM+TYA5U0sm3upw7ZIRwVRVxJwwgb7ueVrgsrIzG+buZlC+JQVzRvq9MT+9pQBKdmngkizltkBKxOfiZ/eoFwyOqyM+aXijgg9pIc97ni+/Ki+XEYhY6w+T5lQ5mA2bD6rSp8e9QSbN+YqtSsjYobwqPzae4fBQgtbibBF4cX2cu1XUxsNss8Za5IcjIWIlh6C+gUfT5MOJdSEPqqCGDtvsC3aG7hWf1K7xq1qJtuQIFS8AiCleZQpo85RkdwyUhPc/HAymg9hFbk3hDzBnfV1UsNmeQD+ixMpLAubTIrLr1L5esa7xAm3YjTbYHcyPvpj8tyou8By3+PmociBuXWl75gAULVx60vxpR5wQFs0hYKQH4WJimMO5Ti/MS+ZLLyTR3a30mVemPYPwS5X0vWwJ+p6ZYEV2BHcntuWFJpNflDxLGG2w+lTu7vdh6MKbgvD7YtBiDltvtNQL7IURQ271MMFjqB0EAr4+QPhDqJY1SJkT4G+jUgz+Z/Q5Et9WFOA6PSUFeBC1ZIhXnsLYeKjNW3Dcxt5dh1v9GXay8C7DQb0eHFUzn0e4PQYHizXkOphraeoCbC8xKYUlYbUFpOlA9Dxi8vIpNOHTfatDXlBo87NbULI3GXkvCBPau4L0SrzF0pBjY0f5sCyWUresJMRCAEog0c2OHJAGQiOtIrR12Pmhicdu0Q7LYxXBLFxxVSDLJt8rA/tgiWlAapua+Tf/lFaTXZHbaFTn9vRNL4xCNLwEnDO6Tjci6jOp4ONf71wnRutuCVuEnsaKovnsNrc7+LHxUn3hP4+WBIZ7dQC+BWdLn09xOQEoZJxCxoGc/VFo9vOIMgt+9Eozroqj9Yg1z4tYAOluVFqPZK3j7re/RoKez4hnyFMwwOf2j4CHTe76gF/bHcR4Yn0PCeDqiQ1gxGF59wNXUPu00hffEUiMLTYRjf8uEwzgaeatK4AI4oV37MGjBpPLEUsSN6T9emSPXrwvHqHJgpTzCuRmsl/l8o3pwqbNKBCH5FO8zhL9HechBImSVILHXIcOPzcGgsgp0q4zeCKAZG/mS5j15Y5lry7ox5pF69s7qTVMEoFtt9I0YkEd5QD8CprKqfeHiUYcc21mUtqn/d6X39hdyqXzGwzmlMLuDB2X7lfvkhsUG6qtdbEzkWLUUfAKQDTeySco9IMHKgCD12A6lvG4sV7f/lo+4tAds5XtOj0c2KGtuXqA6k67pbG16fNr9mz4/IpGTVh7alugfeYLve8d7EGCJcfVPueN5Bs5xrZliEnte+38nh6OvYNX2LKYsTNqFBj/zF7CEVq9nTwpnwS46NjugtJxpbmr0dNsOMzZiiN84c4Radcoi7467vztmi+ZQilbxVNGyAr5prICzecj53X17wde3WCvWg1bUaWvApATB5VDKB+Fc7Ma+Eck2JsswDPUduMO32714mNtBn/qXniLjUFGTsoEEwj4UhblxxhKkl+UCCeQkSFp+spLWqHHagw22aNnhTTBoJW+e+G7zAMV/vSDGt8FPPv29LE+8RFObniJwt9j+NYzI7gti8Dj5GDnC5TqIriTky0wVg0Ca+Ws1lj4JWOjXhycCYv5Z/bWhyJNw4LEk3Ti4qoRvsJyHP7ElJ/I05XTfqH6oOi9rIiTmP4BkovvpvL7vIjk+i466wqUyoca5Nb6QubSzCxjInkJoWCEIMs8m3MQ/B5H3RmQflV3UnxFYo/+l0f3kMxI3vfQ06PD62/Zn3BUW6pA3yvZwFgX4J5tHQ8rtGaOuZRLKDvCGzfAxXynBOdED7sudR5FxXNAPaoirjlmqbmR609yGMtGhSYVeWWO53RZ2NBhTamgqymkrjJ/s3CQDt2Yp1WXn2gRXU57ukSwHIpF1P2BKytF4CH8GMYLeCZxaGzf4cPypKua+GR86JteTsla+e7LGHXdiC13nP+aWe51m2pV1xYEmng6e1p7n8wHdwCUlK6Uz8u7DLiFvVO+1hwTb8iR8p4nQZZEEqCGpusqVG+f6q4eTAISmFjiKQraN2kEnU29HwdcG8LtxlwGlSRganj+DiolDbwTZjYxOIbr9PGpXZaBPYnKaxNrOG0INkBo7oPXu94W9Km0GXtwUhiL9Uy3CYUMnz8vHasXQed/qUKcNvKmvSwO1P5Cbbu78pzwcdGNB71vO5p5KbwUJYfrt1TUOWs5OcvckV3/+VV9i8Pbh/k0KCYTq45S/5cGfVDHqeuAlPXOGTwbwu2S61wDDtmmGOgnuiHZzYrNncd7vRH6EDP7wrUzkmCx+/nSE90AHgYd2G7xgSDfD6AewWW/mVH8K6gfoQR6qhKduOJzC1WylZlio6jnGHS9oRVfPAVazw+gNh75auhqmqni7F3duV7lvWIwOBochk5PL56AvdlrlgjWSrBBiAIz0qCJwhGJwrybtu5HJZkEyZrDbYCN4LYGRQMUehelCoFwvEINVYJvFN3PL9AhSKkaGuJ9PwR/rdTjItpF1a2f94KNmuD47BumSjyoMDwt70kKdWabvEK5P6FzGLmSLdj0oO+2tnwyJ9tg0e6dn1pubmuFS66UHleUmRHp0nupwYEJs45/w1aK9a2h0dRSo0XJMAVHpkxTuxH9kiuSXGn4wxh+RMK0tSrx383c8Eueh8B0l2LvXR5IGFWpkRziQWTiWh0jbq7oI9VhYgYMbu9aeER7Ctoc4Bycyg3aD2gjKzFgMQbnaaLRPBFCdF2TcNC1NVDO08saap/FqYdkct23SsW7uQ//r8nZ+Yc/nJUR0UyDd/HzJQ64ZZDIvpVATggFpxehjEjYyL0iDxUdRu5cDPN51lo+lMzdSRtl117lwD1Z5CqeyWI3UbWPyCHLo6C+sLT6fTCG9v1udZKfIl/I1J0eNs/k9JtKOfv4oIMrZXHt1H/cu/NZ2Bv/NyxWCSE4nZw2w09cFQYGIVWgvVSCcuGdElrUk0gm+hotdhIxq+v0vDZH3woJhtfc1LOTAB+aVWlj20L8UajcvVnG/bHoJpssxW2IYgHQZhWf9GvpARDaBR/41oWxJQH97VfSKgWGo/xoB6YpcqbhhOV6LxSS/ISfVkx+yM53aTWKa7tx5WHusB7VzbJDDoh9i5oM7N8l9V7W+LR+Mf41YdaU9kNSEOARvzS1UAxm70QEP+PzSPgE4YYYm0P2esu2EMkU9E6rF1tUD2/YhA3UhurFcFmRq2chb8WcCzDV8QSi4Fwc/UlLXbWU0nX2UHRKw2iSh1TdnZB51/+RyRciItFYVMtfmmnN4trbyWZuTwWpV44iIZkqOaeynHncOUUiBR8C/nCgnRXBGh+WiZ/akl140I0hNk2t9kY79kIatdSZAIJwVjQOpAeyg6FwdPYtAeSS2CoFYwwta5iEJAGSqUKUtNH6JNEMwJylSMN9T08mBT1aLIOt0FCt/BRpV+3Kc3q+4pQHZeXWHJWD3IQJA3qFs5qotKnr1G7Hd/o3N+mTHYRA3alrBoapd84jsCeJ/HhbxTcYzoAMExAgyUEQb21t9BtmhUV0VSGvsYMi3kCghZDo+b2/S74V0WyybfShu9ZT7rDDnOHt+1erOxDTltH5HCvWTcGXLXTBbg9RmEcvjVVngl35UehJKOIIqUkqY2zMNV24k0760UPztniCGmIBdD0GMf/A7GwKgL/Tsv7oX/CQUhhOfG+3pGjzWSwYvv05QbHbC8lzY8K3KrMr+BacgK2W/ZHGE0sdt75lGW8JHhgHJ1FqSRuN6fC12R3VM8CPzp48Kmu1QZy2NYYT/bdoCI9AcQjCZmVsOs87mE6og6H6egfMDtVBfIxEUBm/h54GCTcIGmiR41jmVSALhuhXg6Y5ILc0+OmUfz6F9G9oRGI1nvjyIuaJicCKR6C6v4pjc7E/rzF1QuwBo9uKv8V1ZbilxKa2yHFEQqhATuv7oZ9hM6UpBUDeme7mJAEXnOi3rzV2KLLUqskuwcIfv7lmEPTn/o2zVlYe6v0UDr89dT7hzTdov62nih+aZNc4dCJVQqNNUYWoD3+YNuTwEyhtSZUxwXBCBPRoHxIkZlyO1Hy+m6sFl8g7wtmgsZ/zFiX00pyxEP1RIgtiKVj9QTq6ya7AsfYFxfue05e7k+ffVn1TktdLEN051EC4M2a415c6GB1sm4Sx0r2qbHkFV6fEfDk9xndjnusyzoqDcxjYxYoM/r5+8CnZXvOTh6wpdMTaFLjuUvBSHJ6+cd1km2NEQZYq8VMiJQdpy9R+RSyAjKGAOw88YHZHuho15EHpbHo7wDi0dd/UztM22HfvtaB6oMmsFlRUzzxpPAsPPDFzjuRUu5BKsb+Utlf3ntcQXj0Prn0zxMaRDegp5hUA0O4EO1uZA2JBxXRC8A/LCzSFj3pki+h00uhf7yGH8rvnHc2unSxQHfUP2zXw0yVyH5+zUsg82xp7dVRYdXU9zKXYuGluN9ffY3J0KuwNs2hKDI5Md2MaHZ1GdHocEZoJiNkM4De+p9WC5/0uX6c8mRQXJK/ansHacVqQnSzeWq0lcImJxKs5eaCP8ME0psdWnzo0YUSNMDC4vMjZRWoMWCtmz1Q1SNsxbOC92ebIg7PXpvxIJ9M8T0hSIvqCyq3r/v10dVs+0NaotXcuZt0XW29js5EQqyb4GmQsl1sXuZxSan6NlNdwHqf+4EwvU5VUeljWEPg+RwC96M7ObAkAHwiDvSVXapNAhGv1gvnQ5RxeVA0RFyJwsqVNhuCjF3qvFEiuapSEIIUlQJg55yvVwJI81zX97oTAoycm1VF2RkoAeDv66TGhgthfPB0IMmweZvDtvgd6gycMhI4pZNy7eifKaBs2JQqY/unlMhxa7qtMTZspUxN2eU8aoylLyb++pVlDxPAhKV2G+IqBul+IqsZkuhAwfwuJ42AVSFYKG5TY+ns0p+5g+uiud0MutuxPnuuMFkwNm6cbpRgGBZPc6qMcdaO8TCaYIpSLxauUloVWz4gOtcEvtWHQDiS342LoNgBt4Qaof62HD3bdFkMKB7dRVJNG2aGoOC5KjUfXYfzqu4sR/+kRos9UbVcMVDlIGtegDtJBMQCYcch0p8XfM/2kfhQVKRRxGo48pIcRhTaaWh/KFgHCtQJoearnFNusUWHq9oGLu9Lh/lOyLAI/oOvSnwIQoseMSO8DR9kq9cZp0bwa/+JUU0OvKWYiYibKqA76n4ffX0uT2a/mWgpbqHQbnvSKLt7CADorc+50fJnQjlaCrdem7LGe7ZYIHLi1Iu3SyTGPR46XhO3J30kJhz7DEi2A0+4nDFiZnsaQRiYXVY/70qsnACjlS8aDkw7MeIAMwEvjMAm66BfVtu1Jnwe4kEYfiHExgbHA4J+eukvtE9g9gnpUu/3f7QNILQO3Gcfueb/sWjamYdIyd88hVOv3t5EO3T2xuu92wXMhzP2dIrFxw2EuYiNawm+Hp3M/YbNtfXqHGtuoSDoPPiu6HRzpKclwjAYE84qwyZzyn+XGqPfwpFBwESowDgnqZnCypJuVzjgyZ0gQplPyHcTdAD5rhavqLC9t5tuMfaxj5FwLjKG2gWsxcq1Qw6hpdntblz8VAFmSdG2Koybr/pHUEYyXvo7PEH6eOIjcFrhqqwN/6tVerVLx1WX90CH8Ot7fYT2YVtmW654TLXUnH1vAGTKBVZxTsNs/InFPT16YEgBI1dTlkMIyjUHzG/It++pfc2sfQVrcffFv1UKNNSeYeofjqP+qrhdZ7HoT2RkpXVGzuZQxJXHZS4iPt/E+9emZw6ECkm4ZWcfFq+i8rJjJSXy5BBcSdURbobeNxo4F3CaOw2Jc+TMWkndgyEyMUJt5sjpkNbcrWA0iIw0sfLtU6mfpj+hlpLq9hYFHw9pWyA3fC6+i0F0jRh1dSx7boDx28IxNwPLxZk8FKRKLY+AAY4ht69ysKxgHT71hc8yBxSAiCsXBbdW1gw16XwsvDoxKZBjGWoaTo4oge+J2U5/xvmzqbOfIzamoMyj94sdlpQAcgnt9rkRz9TI2DRAtYQPfVKb0BfAh8MFH56vMDV0zXeugTRaOOvXEyaHQPB0eGUJSEFvfMXU/pY1CypDFmZrzWOTaeZqPoXMP0KGJQAXvjQu4Rtxf20MxieA1BrSvXyPh0f5ayOSZbhxRJJhzdOw3/5ZWjCAYD0Lx7aNepj/JRsGgQdcNIZ7pwPgtZMCyzBgPA4yThRtRac4yAFU6VrGgduWjp58gclESKScKSgqwSa1HCCrU0A1/nB6kPo/HZL1BjZwj8uaN/d0NUsluJr0v7ECDBTjmJvRUenRRi2QAy8AhCrh9lotX2lvxcg44dnr41hRKCm97HOWOkOCsWgn2ZyKDVV+59P6y4h8vmn1naunpgSBdQ2ACDDGBIC5Ip6cp25yxHb5Nb3bUKw00QgR6LRimw8R52dHMiwZhjz4mTLJeA9jT+nP49fNYb2yMrGr8r9GOdJjyZIYYnI04WivtC6tIlsCtDmUqCuxXdNsUqGvXg0abwe2JqTLhHTlk1728GRlhP+ZztVDVut+XBPOMdJulFQ2n+pR7OfPC5OkIAZRkdIoV1y5fK6vEZQgrVKFe+RgqWDmwA0aU3JQ3I3NOgoixYvr9bXGQokRxVLKe9jOL76yvP+xXKPdbscF2+uz7o5c6qI0ULraPWeRQDTf7Q19q+ANx0xXRJD7tI5nZa2ZA1cIHZXTQDHdr8hSQSv6aQiiZY/GF00bIMTwfvl93F9hyOtRuzpAWpJqk+SR6Gl5BNCsMUd4NZP60R1ZoPMfGMPZOmq1JlFBgtZjkU19TcrvQ6fEjZgHeiqlgIDjOOABiZ6r/ZNUT/nSPMJ9V5y23jAW+VzaHjguxb3Kz71jAcl1Yujmcyrl25vHYnURP2vqwnG7I6zP+gMyjOh1gvPYKbb9JjalB6e7K4Z3igDWR5YQnFuZsOWs1IR6H4EVC868UhULyWaBV8nCeeDv4WehZGZWaS9pXaKweXJiAgQCUjRuXUDkeVjhEbLHlxMsIbMVHDMwLIwYexbpGNXpEKWEsYAvj0tSxpFABcFgOdiccNq8C16DrXbiB6ektO+/KvvldcdWr8eF6zSaMw4mzBJA6jqdS8EnTogKm+EOpBwDr1LgHewERnpKzLfZtt/zpu2gtcpSGnCc8je8gXCBhU4ptIwPuZSZI/tH2XInidQittgxuL0rdubDw8QouzCjMkzFdlblkZ83bAODNHTS/hSqnkMg1/df+zXPtAmxAR/fcq5UhF5RAyl1+kCe0vJrwz68lrH6n/yoo4vYnqmg49JXPcIkoplwxkFElm7Xvp/CU6eQPViP6dxpn4djdG5Ge3IErzkLHIxYpbUygaM922nTlKE3TRJqFXwNLSJqWGFj23Rd32z5KM05BycoMBTpF9uMbRRu51i0+rLaohXb+W1Avx2wnZN9hzr9imEVSPqps3XgeIdFd4HT1lu3k361k687ofyB8i7p9WqXoG1qEKIAWYX1QxBj7DHPeACdNc8CT6nwlKTYNQlBnhc1c0zRSLrVgmMUNvoR1NAhpUZ61EkVXzBEFT7Jqz9vPNoIwbIi3gVQX14CtRY44SbUK9OB6zOuaEuo+MB3ijFwO9511PydKMX5L4foolCBIKXOcSVOin4Kp8z/AMHgiECGFlQhC9tIJOehUa20BSMqtJqDq25qUX93uL9rG74RpKm5ni8idxvsI/ZIGZlEEhGu0Yw3FcSFM9srulsEKV4YyELURkZags+MyuFtmMXKvFqmIuR0vvXy1LnFiiOIVXxW7UvKlWoVL0OMUwfZ8MYI0dVGHLmwVcPlp1WhSN2fIA8p4QbCDKxqyFt3kBAnGEwi1c8P/GESHNtZSDACncW+2l5ULo+wPP62I6b3HJc1f/wP0JGI7O3LQgeXglqJDaJ51Yv2C45Kywvw7P2OHCB3GNdSYKBtSC4nCUl3zalCd1AQtEmcMIDnhlXpEuDGqUojq+2aCUmpT9P4i9T04SszGav1d8igXZwcCr4oEuG7XVcUNJk0NL7sAe0+Rv3bgLQMYSSFwhPM1odA5HpOgTqAvYdcY692QNVIvT6BLJSCTOPCPuY04KFwUf0ymwfRjYCPtQB/ZgHuGaV5f6PlvAUhiDUYZUv89ipEcTFcAeE35ue2QYF4ncerCnb6dZVngbUCMeMpeXMwBYHmth03VC/GncvGg9j35ky0xnxtGC9yP6dJOS9U9//sHw250UGEKLD6iDeuw785A3MgosjNT3fIJYbPDYrZovXGqlKOxU6BUafbdW5x7ymF/Gj6CutlGr0i6QNPeECYXnTmklqMHV/mYUBwZ30XfWjSL98cOamoNs3KRVUgN5BmUnAe0wsi0dP14iztz9/Pf9x0NSbGUmNnaFYLAa7Jb6olwPsAOHElZad5Wx2WFb4ytaXxShY4oIil1D/cr9PYAqXsJw/7yYzMwEmjT2jSyDGKmvA/OFnA8F1ssLN6F/8M2WdGRbkp+ohFCwtjGcurnQ+lrPvtnrhsmLAjgRKz3U=" title="Mekko Graphics Chart">
            <a:extLst>
              <a:ext uri="{FF2B5EF4-FFF2-40B4-BE49-F238E27FC236}">
                <a16:creationId xmlns:a16="http://schemas.microsoft.com/office/drawing/2014/main" id="{5BE0CC4A-8D41-5FD0-EE12-FE06A7132DB6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gray">
          <a:xfrm>
            <a:off x="359508" y="1977293"/>
            <a:ext cx="3384062" cy="4064000"/>
          </a:xfrm>
          <a:prstGeom prst="rect">
            <a:avLst/>
          </a:prstGeom>
          <a:blipFill>
            <a:blip r:embed="rId4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B082FB-715F-E4B7-CE83-501ECDF376DE}"/>
              </a:ext>
            </a:extLst>
          </p:cNvPr>
          <p:cNvSpPr txBox="1"/>
          <p:nvPr/>
        </p:nvSpPr>
        <p:spPr bwMode="gray">
          <a:xfrm>
            <a:off x="2161477" y="2268625"/>
            <a:ext cx="343976" cy="1958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  <a:latin typeface="Arial"/>
              </a:rPr>
              <a:t>60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FB02169-CAA3-90E8-C457-23AEFFC6570A}"/>
              </a:ext>
            </a:extLst>
          </p:cNvPr>
          <p:cNvSpPr txBox="1"/>
          <p:nvPr/>
        </p:nvSpPr>
        <p:spPr bwMode="gray">
          <a:xfrm>
            <a:off x="2161477" y="3388147"/>
            <a:ext cx="343976" cy="1958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4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ABDB373-0A28-3B22-DD91-D3EE0D29D1BB}"/>
              </a:ext>
            </a:extLst>
          </p:cNvPr>
          <p:cNvSpPr txBox="1"/>
          <p:nvPr/>
        </p:nvSpPr>
        <p:spPr bwMode="gray">
          <a:xfrm>
            <a:off x="2161477" y="3933283"/>
            <a:ext cx="343976" cy="1958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  <a:latin typeface="Arial"/>
              </a:rPr>
              <a:t>28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85F9BAF-9949-ED1B-0C81-46A959F95BB2}"/>
              </a:ext>
            </a:extLst>
          </p:cNvPr>
          <p:cNvSpPr txBox="1"/>
          <p:nvPr/>
        </p:nvSpPr>
        <p:spPr bwMode="gray">
          <a:xfrm>
            <a:off x="2155017" y="4512458"/>
            <a:ext cx="343976" cy="1958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3</a:t>
            </a:r>
          </a:p>
        </p:txBody>
      </p:sp>
      <p:sp>
        <p:nvSpPr>
          <p:cNvPr id="69" name="TextBox 65">
            <a:extLst>
              <a:ext uri="{FF2B5EF4-FFF2-40B4-BE49-F238E27FC236}">
                <a16:creationId xmlns:a16="http://schemas.microsoft.com/office/drawing/2014/main" id="{63AD11B1-462B-EE17-DE01-A647FEE3D84E}"/>
              </a:ext>
            </a:extLst>
          </p:cNvPr>
          <p:cNvSpPr txBox="1"/>
          <p:nvPr/>
        </p:nvSpPr>
        <p:spPr bwMode="gray">
          <a:xfrm>
            <a:off x="2161477" y="2837998"/>
            <a:ext cx="343976" cy="1958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  <a:latin typeface="Arial"/>
              </a:rPr>
              <a:t>53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" name="btfpRowHeaderBox136256">
            <a:extLst>
              <a:ext uri="{FF2B5EF4-FFF2-40B4-BE49-F238E27FC236}">
                <a16:creationId xmlns:a16="http://schemas.microsoft.com/office/drawing/2014/main" id="{2FDFDC8D-21E5-3636-9BA9-294140EBA95E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3930843" y="5354268"/>
            <a:ext cx="1225147" cy="498941"/>
            <a:chOff x="-1182322" y="1726190"/>
            <a:chExt cx="2900299" cy="1370566"/>
          </a:xfrm>
        </p:grpSpPr>
        <p:sp>
          <p:nvSpPr>
            <p:cNvPr id="7" name="btfpRowHeaderBoxText136256">
              <a:extLst>
                <a:ext uri="{FF2B5EF4-FFF2-40B4-BE49-F238E27FC236}">
                  <a16:creationId xmlns:a16="http://schemas.microsoft.com/office/drawing/2014/main" id="{8D53835B-95FF-C9E5-14BB-06D774843650}"/>
                </a:ext>
              </a:extLst>
            </p:cNvPr>
            <p:cNvSpPr txBox="1"/>
            <p:nvPr/>
          </p:nvSpPr>
          <p:spPr bwMode="gray">
            <a:xfrm>
              <a:off x="-1182322" y="1726190"/>
              <a:ext cx="2900299" cy="1370566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liability, trustworthiness, transparency</a:t>
              </a:r>
            </a:p>
          </p:txBody>
        </p:sp>
        <p:cxnSp>
          <p:nvCxnSpPr>
            <p:cNvPr id="10" name="btfpRowHeaderBoxLine136256">
              <a:extLst>
                <a:ext uri="{FF2B5EF4-FFF2-40B4-BE49-F238E27FC236}">
                  <a16:creationId xmlns:a16="http://schemas.microsoft.com/office/drawing/2014/main" id="{BDA82ED9-903F-E0EA-FE8F-773AD13A4B60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1699477" y="1726190"/>
              <a:ext cx="19" cy="1370566"/>
            </a:xfrm>
            <a:prstGeom prst="line">
              <a:avLst/>
            </a:prstGeom>
            <a:ln w="762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btfpStatusSticker203358">
            <a:extLst>
              <a:ext uri="{FF2B5EF4-FFF2-40B4-BE49-F238E27FC236}">
                <a16:creationId xmlns:a16="http://schemas.microsoft.com/office/drawing/2014/main" id="{63ACC8D8-EA02-AA44-0180-11A58BC2749D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29" name="btfpStatusStickerText203358">
              <a:extLst>
                <a:ext uri="{FF2B5EF4-FFF2-40B4-BE49-F238E27FC236}">
                  <a16:creationId xmlns:a16="http://schemas.microsoft.com/office/drawing/2014/main" id="{70BBC96F-4866-B8B8-EA73-0BFF74C71BF5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rectional</a:t>
              </a:r>
            </a:p>
          </p:txBody>
        </p:sp>
        <p:cxnSp>
          <p:nvCxnSpPr>
            <p:cNvPr id="47" name="btfpStatusStickerLine203358">
              <a:extLst>
                <a:ext uri="{FF2B5EF4-FFF2-40B4-BE49-F238E27FC236}">
                  <a16:creationId xmlns:a16="http://schemas.microsoft.com/office/drawing/2014/main" id="{125F913F-8577-4DD7-9B0E-2C6A1AAB6662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140B2CCF-31A7-5CC3-4E76-BA19E5047B66}"/>
              </a:ext>
            </a:extLst>
          </p:cNvPr>
          <p:cNvSpPr txBox="1"/>
          <p:nvPr/>
        </p:nvSpPr>
        <p:spPr bwMode="gray">
          <a:xfrm>
            <a:off x="2157266" y="5074935"/>
            <a:ext cx="343976" cy="1958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898A21E-9875-1E94-8C58-9ECF77C4F799}"/>
              </a:ext>
            </a:extLst>
          </p:cNvPr>
          <p:cNvSpPr txBox="1"/>
          <p:nvPr/>
        </p:nvSpPr>
        <p:spPr bwMode="gray">
          <a:xfrm>
            <a:off x="2163726" y="5646510"/>
            <a:ext cx="343976" cy="1958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  <a:latin typeface="Arial"/>
              </a:rPr>
              <a:t>15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4" name="btfpRowHeaderBox136256">
            <a:extLst>
              <a:ext uri="{FF2B5EF4-FFF2-40B4-BE49-F238E27FC236}">
                <a16:creationId xmlns:a16="http://schemas.microsoft.com/office/drawing/2014/main" id="{5D367625-738C-57F5-70CC-AF83A5440958}"/>
              </a:ext>
            </a:extLst>
          </p:cNvPr>
          <p:cNvGrpSpPr/>
          <p:nvPr>
            <p:custDataLst>
              <p:tags r:id="rId16"/>
            </p:custDataLst>
          </p:nvPr>
        </p:nvGrpSpPr>
        <p:grpSpPr>
          <a:xfrm>
            <a:off x="3930843" y="4591862"/>
            <a:ext cx="1225155" cy="710893"/>
            <a:chOff x="-1182322" y="1745022"/>
            <a:chExt cx="2540000" cy="2359427"/>
          </a:xfrm>
        </p:grpSpPr>
        <p:sp>
          <p:nvSpPr>
            <p:cNvPr id="85" name="btfpRowHeaderBoxText136256">
              <a:extLst>
                <a:ext uri="{FF2B5EF4-FFF2-40B4-BE49-F238E27FC236}">
                  <a16:creationId xmlns:a16="http://schemas.microsoft.com/office/drawing/2014/main" id="{8F08D09F-70CC-E932-7362-1F0FDFD279E5}"/>
                </a:ext>
              </a:extLst>
            </p:cNvPr>
            <p:cNvSpPr txBox="1"/>
            <p:nvPr/>
          </p:nvSpPr>
          <p:spPr bwMode="gray">
            <a:xfrm>
              <a:off x="-1182322" y="1745022"/>
              <a:ext cx="2540000" cy="2359427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Quality of products</a:t>
              </a:r>
            </a:p>
          </p:txBody>
        </p:sp>
        <p:cxnSp>
          <p:nvCxnSpPr>
            <p:cNvPr id="86" name="btfpRowHeaderBoxLine136256">
              <a:extLst>
                <a:ext uri="{FF2B5EF4-FFF2-40B4-BE49-F238E27FC236}">
                  <a16:creationId xmlns:a16="http://schemas.microsoft.com/office/drawing/2014/main" id="{78B2AC66-D881-5EFD-D91F-97AE0EC574C7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1352097" y="1745022"/>
              <a:ext cx="0" cy="2359427"/>
            </a:xfrm>
            <a:prstGeom prst="line">
              <a:avLst/>
            </a:prstGeom>
            <a:ln w="762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9" name="btfpQuoteBox701730">
            <a:extLst>
              <a:ext uri="{FF2B5EF4-FFF2-40B4-BE49-F238E27FC236}">
                <a16:creationId xmlns:a16="http://schemas.microsoft.com/office/drawing/2014/main" id="{AF566E71-AF0B-E43E-139C-47169D87D67C}"/>
              </a:ext>
            </a:extLst>
          </p:cNvPr>
          <p:cNvSpPr txBox="1"/>
          <p:nvPr>
            <p:custDataLst>
              <p:tags r:id="rId17"/>
            </p:custDataLst>
          </p:nvPr>
        </p:nvSpPr>
        <p:spPr bwMode="gray">
          <a:xfrm>
            <a:off x="5209591" y="3755687"/>
            <a:ext cx="654912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lvl="0" indent="0">
              <a:spcBef>
                <a:spcPts val="0"/>
              </a:spcBef>
              <a:buNone/>
              <a:defRPr/>
            </a:pPr>
            <a:r>
              <a:rPr lang="en-US" sz="900" i="1">
                <a:solidFill>
                  <a:srgbClr val="000000"/>
                </a:solidFill>
                <a:latin typeface="Arial"/>
              </a:rPr>
              <a:t>“Finally have a great company to check my three buildings with sprinklers. </a:t>
            </a:r>
            <a:r>
              <a:rPr lang="en-US" sz="900" b="1" i="1">
                <a:solidFill>
                  <a:srgbClr val="507867"/>
                </a:solidFill>
                <a:latin typeface="Arial"/>
              </a:rPr>
              <a:t>They communicate, are always on time and their reports are awesome</a:t>
            </a:r>
            <a:r>
              <a:rPr lang="en-US" sz="900" i="1">
                <a:solidFill>
                  <a:srgbClr val="000000"/>
                </a:solidFill>
                <a:latin typeface="Arial"/>
              </a:rPr>
              <a:t>.”</a:t>
            </a:r>
            <a:endParaRPr kumimoji="0" lang="en-US" sz="9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5" name="btfpQuoteBox701730">
            <a:extLst>
              <a:ext uri="{FF2B5EF4-FFF2-40B4-BE49-F238E27FC236}">
                <a16:creationId xmlns:a16="http://schemas.microsoft.com/office/drawing/2014/main" id="{F2C16358-7CE6-71A9-21ED-5AE5EE13162B}"/>
              </a:ext>
            </a:extLst>
          </p:cNvPr>
          <p:cNvSpPr txBox="1"/>
          <p:nvPr>
            <p:custDataLst>
              <p:tags r:id="rId18"/>
            </p:custDataLst>
          </p:nvPr>
        </p:nvSpPr>
        <p:spPr bwMode="gray">
          <a:xfrm>
            <a:off x="5209591" y="4863327"/>
            <a:ext cx="6549120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  <a:defRPr/>
            </a:pPr>
            <a:r>
              <a:rPr kumimoji="0" lang="en-US" sz="9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I have used </a:t>
            </a:r>
            <a:r>
              <a:rPr lang="en-US" sz="900" i="1">
                <a:solidFill>
                  <a:srgbClr val="000000"/>
                </a:solidFill>
                <a:latin typeface="Arial"/>
              </a:rPr>
              <a:t>Target </a:t>
            </a:r>
            <a:r>
              <a:rPr kumimoji="0" lang="en-US" sz="9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5+ years to fill CO2 tanks. </a:t>
            </a:r>
            <a:r>
              <a:rPr kumimoji="0" lang="en-US" sz="900" b="1" i="1" u="none" strike="noStrike" kern="1200" cap="none" spc="0" normalizeH="0" baseline="0" noProof="0" dirty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at service and fast too</a:t>
            </a:r>
            <a:r>
              <a:rPr kumimoji="0" lang="en-US" sz="9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.”</a:t>
            </a:r>
          </a:p>
        </p:txBody>
      </p:sp>
      <p:sp>
        <p:nvSpPr>
          <p:cNvPr id="101" name="btfpNotesBox817866">
            <a:extLst>
              <a:ext uri="{FF2B5EF4-FFF2-40B4-BE49-F238E27FC236}">
                <a16:creationId xmlns:a16="http://schemas.microsoft.com/office/drawing/2014/main" id="{DB6ABCA3-B4F0-C8FC-AD40-0C136CAA720C}"/>
              </a:ext>
            </a:extLst>
          </p:cNvPr>
          <p:cNvSpPr txBox="1"/>
          <p:nvPr>
            <p:custDataLst>
              <p:tags r:id="rId19"/>
            </p:custDataLst>
          </p:nvPr>
        </p:nvSpPr>
        <p:spPr bwMode="gray">
          <a:xfrm>
            <a:off x="330199" y="6434974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Google Reviews; OpenAI GPT analysis</a:t>
            </a:r>
          </a:p>
        </p:txBody>
      </p:sp>
      <p:sp>
        <p:nvSpPr>
          <p:cNvPr id="43" name="btfpQuoteBox701730">
            <a:extLst>
              <a:ext uri="{FF2B5EF4-FFF2-40B4-BE49-F238E27FC236}">
                <a16:creationId xmlns:a16="http://schemas.microsoft.com/office/drawing/2014/main" id="{388C118A-E06D-11B4-0DA2-5277A35476B7}"/>
              </a:ext>
            </a:extLst>
          </p:cNvPr>
          <p:cNvSpPr txBox="1"/>
          <p:nvPr>
            <p:custDataLst>
              <p:tags r:id="rId20"/>
            </p:custDataLst>
          </p:nvPr>
        </p:nvSpPr>
        <p:spPr bwMode="gray">
          <a:xfrm>
            <a:off x="5209591" y="2988237"/>
            <a:ext cx="654912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Target is a new contractor for our business and so far has </a:t>
            </a:r>
            <a:r>
              <a:rPr kumimoji="0" lang="en-US" sz="900" b="1" i="1" u="none" strike="noStrike" kern="1200" cap="none" spc="0" normalizeH="0" baseline="0" noProof="0" dirty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ded excellence in customer service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ommunication has been outstanding and price accommodation per our budget has been met.”</a:t>
            </a:r>
          </a:p>
        </p:txBody>
      </p:sp>
      <p:sp>
        <p:nvSpPr>
          <p:cNvPr id="44" name="btfpQuoteBox701730">
            <a:extLst>
              <a:ext uri="{FF2B5EF4-FFF2-40B4-BE49-F238E27FC236}">
                <a16:creationId xmlns:a16="http://schemas.microsoft.com/office/drawing/2014/main" id="{796D0D21-B844-C98A-2FF2-76A816D45DB6}"/>
              </a:ext>
            </a:extLst>
          </p:cNvPr>
          <p:cNvSpPr txBox="1"/>
          <p:nvPr>
            <p:custDataLst>
              <p:tags r:id="rId21"/>
            </p:custDataLst>
          </p:nvPr>
        </p:nvSpPr>
        <p:spPr bwMode="gray">
          <a:xfrm>
            <a:off x="5209591" y="5328991"/>
            <a:ext cx="6549120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  <a:defRPr/>
            </a:pPr>
            <a:r>
              <a:rPr kumimoji="0" lang="en-US" sz="90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“I've been doing business with them for well over 20 years. Their 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rvice is reliable and dependable</a:t>
            </a:r>
            <a:r>
              <a:rPr kumimoji="0" lang="en-US" sz="90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.”</a:t>
            </a:r>
          </a:p>
        </p:txBody>
      </p:sp>
      <p:grpSp>
        <p:nvGrpSpPr>
          <p:cNvPr id="53" name="btfpColumnHeaderBox643447">
            <a:extLst>
              <a:ext uri="{FF2B5EF4-FFF2-40B4-BE49-F238E27FC236}">
                <a16:creationId xmlns:a16="http://schemas.microsoft.com/office/drawing/2014/main" id="{0A9BAD54-66F5-D79A-D67A-7A2E8CD1F2FC}"/>
              </a:ext>
            </a:extLst>
          </p:cNvPr>
          <p:cNvGrpSpPr/>
          <p:nvPr>
            <p:custDataLst>
              <p:tags r:id="rId22"/>
            </p:custDataLst>
          </p:nvPr>
        </p:nvGrpSpPr>
        <p:grpSpPr>
          <a:xfrm>
            <a:off x="334963" y="1329835"/>
            <a:ext cx="3394295" cy="247452"/>
            <a:chOff x="2322836" y="1512704"/>
            <a:chExt cx="1661362" cy="276550"/>
          </a:xfrm>
        </p:grpSpPr>
        <p:sp>
          <p:nvSpPr>
            <p:cNvPr id="54" name="btfpColumnHeaderBoxText643447">
              <a:extLst>
                <a:ext uri="{FF2B5EF4-FFF2-40B4-BE49-F238E27FC236}">
                  <a16:creationId xmlns:a16="http://schemas.microsoft.com/office/drawing/2014/main" id="{F8E2D875-6A2A-07F2-6757-F2A5FE9B7F49}"/>
                </a:ext>
              </a:extLst>
            </p:cNvPr>
            <p:cNvSpPr txBox="1"/>
            <p:nvPr/>
          </p:nvSpPr>
          <p:spPr bwMode="gray">
            <a:xfrm>
              <a:off x="2322836" y="1512704"/>
              <a:ext cx="1661362" cy="267901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arget</a:t>
              </a:r>
              <a:r>
                <a:rPr kumimoji="0" lang="en-US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N=1</a:t>
              </a:r>
              <a:r>
                <a:rPr lang="en-US" sz="1100" b="1" dirty="0">
                  <a:solidFill>
                    <a:srgbClr val="C00000"/>
                  </a:solidFill>
                  <a:latin typeface="Arial"/>
                </a:rPr>
                <a:t>20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</a:t>
              </a:r>
            </a:p>
          </p:txBody>
        </p:sp>
        <p:cxnSp>
          <p:nvCxnSpPr>
            <p:cNvPr id="56" name="btfpColumnHeaderBoxLine643447">
              <a:extLst>
                <a:ext uri="{FF2B5EF4-FFF2-40B4-BE49-F238E27FC236}">
                  <a16:creationId xmlns:a16="http://schemas.microsoft.com/office/drawing/2014/main" id="{FCBDF35D-6F54-F403-13B0-14EBE57EC26D}"/>
                </a:ext>
              </a:extLst>
            </p:cNvPr>
            <p:cNvCxnSpPr/>
            <p:nvPr/>
          </p:nvCxnSpPr>
          <p:spPr bwMode="gray">
            <a:xfrm>
              <a:off x="2322836" y="1789254"/>
              <a:ext cx="166136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btfpQuoteBox701730">
            <a:extLst>
              <a:ext uri="{FF2B5EF4-FFF2-40B4-BE49-F238E27FC236}">
                <a16:creationId xmlns:a16="http://schemas.microsoft.com/office/drawing/2014/main" id="{0B1AEC19-6349-230D-A3C8-636ACF7073B1}"/>
              </a:ext>
            </a:extLst>
          </p:cNvPr>
          <p:cNvSpPr txBox="1"/>
          <p:nvPr>
            <p:custDataLst>
              <p:tags r:id="rId23"/>
            </p:custDataLst>
          </p:nvPr>
        </p:nvSpPr>
        <p:spPr bwMode="gray">
          <a:xfrm>
            <a:off x="5209591" y="4059407"/>
            <a:ext cx="6549120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 dirty="0">
                <a:latin typeface="Arial"/>
              </a:rPr>
              <a:t>“Been using Target for many years now, </a:t>
            </a:r>
            <a:r>
              <a:rPr lang="en-US" sz="900" b="1" i="1" dirty="0">
                <a:solidFill>
                  <a:srgbClr val="507867"/>
                </a:solidFill>
                <a:latin typeface="Arial"/>
              </a:rPr>
              <a:t>always professional, always on time</a:t>
            </a:r>
            <a:r>
              <a:rPr lang="en-US" sz="900" i="1" dirty="0">
                <a:latin typeface="Arial"/>
              </a:rPr>
              <a:t>. Thanks to all for your help.”</a:t>
            </a:r>
            <a:endParaRPr kumimoji="0" lang="en-US" sz="900" b="1" i="1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btfpQuoteBox701730">
            <a:extLst>
              <a:ext uri="{FF2B5EF4-FFF2-40B4-BE49-F238E27FC236}">
                <a16:creationId xmlns:a16="http://schemas.microsoft.com/office/drawing/2014/main" id="{AB0090E4-61AB-61EE-422C-60943F992230}"/>
              </a:ext>
            </a:extLst>
          </p:cNvPr>
          <p:cNvSpPr txBox="1"/>
          <p:nvPr>
            <p:custDataLst>
              <p:tags r:id="rId24"/>
            </p:custDataLst>
          </p:nvPr>
        </p:nvSpPr>
        <p:spPr bwMode="gray">
          <a:xfrm>
            <a:off x="5209591" y="4543977"/>
            <a:ext cx="654912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 dirty="0">
                <a:latin typeface="Arial"/>
              </a:rPr>
              <a:t>“</a:t>
            </a:r>
            <a:r>
              <a:rPr lang="en-US" sz="900" b="1" i="1" dirty="0">
                <a:solidFill>
                  <a:srgbClr val="507867"/>
                </a:solidFill>
                <a:latin typeface="Arial"/>
              </a:rPr>
              <a:t>Terrific advice and customer service</a:t>
            </a:r>
            <a:r>
              <a:rPr lang="en-US" sz="900" i="1" dirty="0">
                <a:latin typeface="Arial"/>
              </a:rPr>
              <a:t>. Get </a:t>
            </a:r>
            <a:r>
              <a:rPr lang="en-US" sz="900" b="1" i="1" dirty="0">
                <a:solidFill>
                  <a:srgbClr val="507867"/>
                </a:solidFill>
                <a:latin typeface="Arial"/>
              </a:rPr>
              <a:t>high quality extinguishers w/ all metal parts and brackets with straps </a:t>
            </a:r>
            <a:r>
              <a:rPr lang="en-US" sz="900" i="1" dirty="0">
                <a:latin typeface="Arial"/>
              </a:rPr>
              <a:t>for the same price as the plastic-handled junk at the big box stores. Highly recommended for your family's safety.”</a:t>
            </a:r>
            <a:endParaRPr kumimoji="0" lang="en-US" sz="90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btfpQuoteBox701730">
            <a:extLst>
              <a:ext uri="{FF2B5EF4-FFF2-40B4-BE49-F238E27FC236}">
                <a16:creationId xmlns:a16="http://schemas.microsoft.com/office/drawing/2014/main" id="{4E3D08F3-CF7F-6822-5868-C81B01971792}"/>
              </a:ext>
            </a:extLst>
          </p:cNvPr>
          <p:cNvSpPr txBox="1"/>
          <p:nvPr>
            <p:custDataLst>
              <p:tags r:id="rId25"/>
            </p:custDataLst>
          </p:nvPr>
        </p:nvSpPr>
        <p:spPr bwMode="gray">
          <a:xfrm>
            <a:off x="5209591" y="4224627"/>
            <a:ext cx="693234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 dirty="0">
                <a:latin typeface="Arial"/>
              </a:rPr>
              <a:t>“I signed a contract with them in Jan 30th and handed it to their representative and he told me it will be a week  then kept calling him and texting him for 20 days till Feb 20th and even called the company to find out that the </a:t>
            </a:r>
            <a:r>
              <a:rPr lang="en-US" sz="900" b="1" i="1" dirty="0">
                <a:solidFill>
                  <a:srgbClr val="CC0000"/>
                </a:solidFill>
                <a:latin typeface="Arial"/>
              </a:rPr>
              <a:t>contract was never been submitted</a:t>
            </a:r>
            <a:r>
              <a:rPr lang="en-US" sz="900" i="1" dirty="0">
                <a:latin typeface="Arial"/>
              </a:rPr>
              <a:t>”</a:t>
            </a:r>
            <a:endParaRPr kumimoji="0" lang="en-US" sz="900" b="1" i="1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8" name="btfpRowHeaderBox136256">
            <a:extLst>
              <a:ext uri="{FF2B5EF4-FFF2-40B4-BE49-F238E27FC236}">
                <a16:creationId xmlns:a16="http://schemas.microsoft.com/office/drawing/2014/main" id="{550EB247-79F7-31E4-CF04-5C0921249F06}"/>
              </a:ext>
            </a:extLst>
          </p:cNvPr>
          <p:cNvGrpSpPr/>
          <p:nvPr>
            <p:custDataLst>
              <p:tags r:id="rId26"/>
            </p:custDataLst>
          </p:nvPr>
        </p:nvGrpSpPr>
        <p:grpSpPr>
          <a:xfrm>
            <a:off x="3930843" y="5904722"/>
            <a:ext cx="1225171" cy="590839"/>
            <a:chOff x="-1182322" y="1726190"/>
            <a:chExt cx="2900299" cy="1370566"/>
          </a:xfrm>
        </p:grpSpPr>
        <p:sp>
          <p:nvSpPr>
            <p:cNvPr id="49" name="btfpRowHeaderBoxText136256">
              <a:extLst>
                <a:ext uri="{FF2B5EF4-FFF2-40B4-BE49-F238E27FC236}">
                  <a16:creationId xmlns:a16="http://schemas.microsoft.com/office/drawing/2014/main" id="{33D375BB-6DC2-FEB1-FD9F-41E287E63323}"/>
                </a:ext>
              </a:extLst>
            </p:cNvPr>
            <p:cNvSpPr txBox="1"/>
            <p:nvPr/>
          </p:nvSpPr>
          <p:spPr bwMode="gray">
            <a:xfrm>
              <a:off x="-1182322" y="1726190"/>
              <a:ext cx="2900299" cy="1370566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ces / value for money</a:t>
              </a:r>
            </a:p>
          </p:txBody>
        </p:sp>
        <p:cxnSp>
          <p:nvCxnSpPr>
            <p:cNvPr id="52" name="btfpRowHeaderBoxLine136256">
              <a:extLst>
                <a:ext uri="{FF2B5EF4-FFF2-40B4-BE49-F238E27FC236}">
                  <a16:creationId xmlns:a16="http://schemas.microsoft.com/office/drawing/2014/main" id="{0E7382EB-A8C9-2DC4-9030-6CB62BF950D8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1699477" y="1726190"/>
              <a:ext cx="19" cy="1370566"/>
            </a:xfrm>
            <a:prstGeom prst="line">
              <a:avLst/>
            </a:prstGeom>
            <a:ln w="762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btfpQuoteBox701730">
            <a:extLst>
              <a:ext uri="{FF2B5EF4-FFF2-40B4-BE49-F238E27FC236}">
                <a16:creationId xmlns:a16="http://schemas.microsoft.com/office/drawing/2014/main" id="{97101F2D-C6CB-0492-76B7-2504CC9414A7}"/>
              </a:ext>
            </a:extLst>
          </p:cNvPr>
          <p:cNvSpPr txBox="1"/>
          <p:nvPr>
            <p:custDataLst>
              <p:tags r:id="rId27"/>
            </p:custDataLst>
          </p:nvPr>
        </p:nvSpPr>
        <p:spPr bwMode="gray">
          <a:xfrm>
            <a:off x="5209591" y="5669218"/>
            <a:ext cx="6865170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>
                <a:solidFill>
                  <a:srgbClr val="000000"/>
                </a:solidFill>
                <a:latin typeface="Arial"/>
              </a:rPr>
              <a:t>“Worst company to deal with. No professional resources, they </a:t>
            </a:r>
            <a:r>
              <a:rPr lang="en-US" sz="900" b="1" i="1">
                <a:solidFill>
                  <a:srgbClr val="C00000"/>
                </a:solidFill>
                <a:latin typeface="Arial"/>
              </a:rPr>
              <a:t>don’t stick with their commitment</a:t>
            </a:r>
            <a:r>
              <a:rPr lang="en-US" sz="900" i="1">
                <a:solidFill>
                  <a:srgbClr val="000000"/>
                </a:solidFill>
                <a:latin typeface="Arial"/>
              </a:rPr>
              <a:t>. Please don’t waste your time”</a:t>
            </a:r>
            <a:endParaRPr kumimoji="0" lang="en-US" sz="9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btfpQuoteBox701730">
            <a:extLst>
              <a:ext uri="{FF2B5EF4-FFF2-40B4-BE49-F238E27FC236}">
                <a16:creationId xmlns:a16="http://schemas.microsoft.com/office/drawing/2014/main" id="{F25FB8E7-BBA6-BB52-A7AA-E785422D38A5}"/>
              </a:ext>
            </a:extLst>
          </p:cNvPr>
          <p:cNvSpPr txBox="1"/>
          <p:nvPr>
            <p:custDataLst>
              <p:tags r:id="rId28"/>
            </p:custDataLst>
          </p:nvPr>
        </p:nvSpPr>
        <p:spPr bwMode="gray">
          <a:xfrm>
            <a:off x="5209591" y="6217603"/>
            <a:ext cx="6970777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>
                <a:latin typeface="Arial"/>
              </a:rPr>
              <a:t>“Wish I could leave zero stars! This year they </a:t>
            </a:r>
            <a:r>
              <a:rPr lang="en-US" sz="900" b="1" i="1">
                <a:solidFill>
                  <a:srgbClr val="C00000"/>
                </a:solidFill>
                <a:latin typeface="Arial"/>
              </a:rPr>
              <a:t>charged us double for our annual inspection </a:t>
            </a:r>
            <a:r>
              <a:rPr lang="en-US" sz="900" i="1">
                <a:latin typeface="Arial"/>
              </a:rPr>
              <a:t>with no explanation as to why the price went up so much</a:t>
            </a:r>
            <a:r>
              <a:rPr lang="en-US" sz="900" b="1" i="1">
                <a:solidFill>
                  <a:schemeClr val="accent5"/>
                </a:solidFill>
                <a:latin typeface="Arial"/>
              </a:rPr>
              <a:t>”</a:t>
            </a:r>
            <a:endParaRPr kumimoji="0" lang="en-US" sz="900" b="1" i="1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btfpQuoteBox701730">
            <a:extLst>
              <a:ext uri="{FF2B5EF4-FFF2-40B4-BE49-F238E27FC236}">
                <a16:creationId xmlns:a16="http://schemas.microsoft.com/office/drawing/2014/main" id="{939607AB-D33A-72BC-20A1-BE335628F66C}"/>
              </a:ext>
            </a:extLst>
          </p:cNvPr>
          <p:cNvSpPr txBox="1"/>
          <p:nvPr>
            <p:custDataLst>
              <p:tags r:id="rId29"/>
            </p:custDataLst>
          </p:nvPr>
        </p:nvSpPr>
        <p:spPr bwMode="gray">
          <a:xfrm>
            <a:off x="5209591" y="1966997"/>
            <a:ext cx="654912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er professional</a:t>
            </a: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explained everything to someone who knows nothing about the system. 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s super helpful and spoke to the fire </a:t>
            </a:r>
            <a:r>
              <a:rPr kumimoji="0" lang="en-US" sz="900" b="1" i="1" u="none" strike="noStrike" kern="1200" cap="none" spc="0" normalizeH="0" baseline="0" noProof="0" err="1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shall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n our behalf</a:t>
            </a: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They finished in a timely manner.”</a:t>
            </a:r>
            <a:endParaRPr kumimoji="0" lang="en-US" sz="900" b="1" i="1" u="none" strike="noStrike" kern="1200" cap="none" spc="0" normalizeH="0" baseline="0" noProof="0">
              <a:ln>
                <a:noFill/>
              </a:ln>
              <a:solidFill>
                <a:srgbClr val="50786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btfpQuoteBox701730">
            <a:extLst>
              <a:ext uri="{FF2B5EF4-FFF2-40B4-BE49-F238E27FC236}">
                <a16:creationId xmlns:a16="http://schemas.microsoft.com/office/drawing/2014/main" id="{8754CA30-8500-FBAB-4059-F23F2E5EB5D5}"/>
              </a:ext>
            </a:extLst>
          </p:cNvPr>
          <p:cNvSpPr txBox="1"/>
          <p:nvPr>
            <p:custDataLst>
              <p:tags r:id="rId30"/>
            </p:custDataLst>
          </p:nvPr>
        </p:nvSpPr>
        <p:spPr bwMode="gray">
          <a:xfrm>
            <a:off x="5209591" y="2467197"/>
            <a:ext cx="6549120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>
                <a:solidFill>
                  <a:srgbClr val="000000"/>
                </a:solidFill>
                <a:latin typeface="Arial"/>
              </a:rPr>
              <a:t>“Awful company- they gave me a date and told me I misheard it when they didn’t show up. </a:t>
            </a:r>
            <a:r>
              <a:rPr lang="en-US" sz="900" b="1" i="1">
                <a:solidFill>
                  <a:srgbClr val="CC0000"/>
                </a:solidFill>
                <a:latin typeface="Arial"/>
              </a:rPr>
              <a:t>Unbelievable and unprofessional</a:t>
            </a:r>
            <a:r>
              <a:rPr lang="en-US" sz="900" b="1" i="1">
                <a:solidFill>
                  <a:schemeClr val="accent5"/>
                </a:solidFill>
                <a:latin typeface="Arial"/>
              </a:rPr>
              <a:t>.</a:t>
            </a:r>
            <a:r>
              <a:rPr lang="en-US" sz="900" i="1">
                <a:solidFill>
                  <a:srgbClr val="000000"/>
                </a:solidFill>
                <a:latin typeface="Arial"/>
              </a:rPr>
              <a:t>”</a:t>
            </a:r>
            <a:endParaRPr kumimoji="0" lang="en-US" sz="900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btfpQuoteBox701730">
            <a:extLst>
              <a:ext uri="{FF2B5EF4-FFF2-40B4-BE49-F238E27FC236}">
                <a16:creationId xmlns:a16="http://schemas.microsoft.com/office/drawing/2014/main" id="{B051EDA9-B062-3B0E-8BC9-AA8C6514EB88}"/>
              </a:ext>
            </a:extLst>
          </p:cNvPr>
          <p:cNvSpPr txBox="1"/>
          <p:nvPr>
            <p:custDataLst>
              <p:tags r:id="rId31"/>
            </p:custDataLst>
          </p:nvPr>
        </p:nvSpPr>
        <p:spPr bwMode="gray">
          <a:xfrm>
            <a:off x="5209591" y="3451967"/>
            <a:ext cx="654912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“Wish I could rate the service a negative five. 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solutely horrible service</a:t>
            </a:r>
            <a:r>
              <a:rPr kumimoji="0" lang="en-US" sz="90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. I am so disappointed Would not recommend this business to my worst enemy.</a:t>
            </a:r>
            <a:r>
              <a:rPr lang="en-US" sz="900" i="1">
                <a:latin typeface="Arial"/>
              </a:rPr>
              <a:t>”</a:t>
            </a:r>
            <a:endParaRPr kumimoji="0" lang="en-US" sz="900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btfpQuoteBox701730">
            <a:extLst>
              <a:ext uri="{FF2B5EF4-FFF2-40B4-BE49-F238E27FC236}">
                <a16:creationId xmlns:a16="http://schemas.microsoft.com/office/drawing/2014/main" id="{D965C52B-85B0-8AE1-58EF-CF5B4500F8A6}"/>
              </a:ext>
            </a:extLst>
          </p:cNvPr>
          <p:cNvSpPr txBox="1"/>
          <p:nvPr>
            <p:custDataLst>
              <p:tags r:id="rId32"/>
            </p:custDataLst>
          </p:nvPr>
        </p:nvSpPr>
        <p:spPr bwMode="gray">
          <a:xfrm>
            <a:off x="5209591" y="6044572"/>
            <a:ext cx="6970777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>
                <a:latin typeface="Arial"/>
              </a:rPr>
              <a:t>“Do not use this company. </a:t>
            </a:r>
            <a:r>
              <a:rPr lang="en-US" sz="900" b="1" i="1">
                <a:solidFill>
                  <a:srgbClr val="C00000"/>
                </a:solidFill>
                <a:latin typeface="Arial"/>
              </a:rPr>
              <a:t>Pricing is extremely high </a:t>
            </a:r>
            <a:r>
              <a:rPr lang="en-US" sz="900" i="1">
                <a:latin typeface="Arial"/>
              </a:rPr>
              <a:t>... I was charged $397 for a service that cost less than $180 two years ago.</a:t>
            </a:r>
            <a:r>
              <a:rPr lang="en-US" sz="900" b="1" i="1">
                <a:solidFill>
                  <a:schemeClr val="accent5"/>
                </a:solidFill>
                <a:latin typeface="Arial"/>
              </a:rPr>
              <a:t>”</a:t>
            </a:r>
            <a:endParaRPr kumimoji="0" lang="en-US" sz="900" b="1" i="1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btfpQuoteBox701730">
            <a:extLst>
              <a:ext uri="{FF2B5EF4-FFF2-40B4-BE49-F238E27FC236}">
                <a16:creationId xmlns:a16="http://schemas.microsoft.com/office/drawing/2014/main" id="{2D35870A-62DF-4FE3-A275-C273205E2383}"/>
              </a:ext>
            </a:extLst>
          </p:cNvPr>
          <p:cNvSpPr txBox="1"/>
          <p:nvPr>
            <p:custDataLst>
              <p:tags r:id="rId33"/>
            </p:custDataLst>
          </p:nvPr>
        </p:nvSpPr>
        <p:spPr bwMode="gray">
          <a:xfrm>
            <a:off x="5209591" y="5871541"/>
            <a:ext cx="6970777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>
                <a:latin typeface="Arial"/>
              </a:rPr>
              <a:t>“I went here to fill my CO2 tank ... They fill your tank or will exchange it for a </a:t>
            </a:r>
            <a:r>
              <a:rPr lang="en-US" sz="900" b="1" i="1">
                <a:solidFill>
                  <a:schemeClr val="accent5"/>
                </a:solidFill>
                <a:latin typeface="Arial"/>
              </a:rPr>
              <a:t>very reasonable price</a:t>
            </a:r>
            <a:r>
              <a:rPr lang="en-US" sz="900" i="1">
                <a:latin typeface="Arial"/>
              </a:rPr>
              <a:t>. Half the price of some places..</a:t>
            </a:r>
            <a:r>
              <a:rPr lang="en-US" sz="900" b="1" i="1">
                <a:solidFill>
                  <a:schemeClr val="accent5"/>
                </a:solidFill>
                <a:latin typeface="Arial"/>
              </a:rPr>
              <a:t>”</a:t>
            </a:r>
            <a:endParaRPr kumimoji="0" lang="en-US" sz="900" b="1" i="1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btfpQuoteBox701730">
            <a:extLst>
              <a:ext uri="{FF2B5EF4-FFF2-40B4-BE49-F238E27FC236}">
                <a16:creationId xmlns:a16="http://schemas.microsoft.com/office/drawing/2014/main" id="{FEECBDA4-6719-C351-64A2-C0412EFDB1C2}"/>
              </a:ext>
            </a:extLst>
          </p:cNvPr>
          <p:cNvSpPr txBox="1"/>
          <p:nvPr>
            <p:custDataLst>
              <p:tags r:id="rId34"/>
            </p:custDataLst>
          </p:nvPr>
        </p:nvSpPr>
        <p:spPr bwMode="gray">
          <a:xfrm>
            <a:off x="5209591" y="5499105"/>
            <a:ext cx="6549120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>
                <a:solidFill>
                  <a:srgbClr val="000000"/>
                </a:solidFill>
                <a:latin typeface="Arial"/>
              </a:rPr>
              <a:t>“They are a horrible company, overpriced, terrible service contracts and </a:t>
            </a:r>
            <a:r>
              <a:rPr lang="en-US" sz="900" b="1" i="1">
                <a:solidFill>
                  <a:srgbClr val="C00000"/>
                </a:solidFill>
                <a:latin typeface="Arial"/>
              </a:rPr>
              <a:t>can't be trusted</a:t>
            </a:r>
            <a:r>
              <a:rPr lang="en-US" sz="900" i="1">
                <a:solidFill>
                  <a:srgbClr val="000000"/>
                </a:solidFill>
                <a:latin typeface="Arial"/>
              </a:rPr>
              <a:t>.”</a:t>
            </a:r>
            <a:endParaRPr kumimoji="0" lang="en-US" sz="9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btfpCallout300276">
            <a:extLst>
              <a:ext uri="{FF2B5EF4-FFF2-40B4-BE49-F238E27FC236}">
                <a16:creationId xmlns:a16="http://schemas.microsoft.com/office/drawing/2014/main" id="{1E276A72-4845-D0CD-0F91-BF1405EB20E8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1471607" y="1990445"/>
            <a:ext cx="820686" cy="163742"/>
          </a:xfrm>
          <a:prstGeom prst="wedgeRectCallout">
            <a:avLst>
              <a:gd name="adj1" fmla="val 38460"/>
              <a:gd name="adj2" fmla="val 115051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73" rIns="91440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of mentions</a:t>
            </a:r>
          </a:p>
        </p:txBody>
      </p:sp>
      <p:grpSp>
        <p:nvGrpSpPr>
          <p:cNvPr id="61" name="btfpRunningAgenda2Level873389">
            <a:extLst>
              <a:ext uri="{FF2B5EF4-FFF2-40B4-BE49-F238E27FC236}">
                <a16:creationId xmlns:a16="http://schemas.microsoft.com/office/drawing/2014/main" id="{3CBCBADE-C4DB-4184-DCA2-D415EB55E9CF}"/>
              </a:ext>
            </a:extLst>
          </p:cNvPr>
          <p:cNvGrpSpPr/>
          <p:nvPr>
            <p:custDataLst>
              <p:tags r:id="rId36"/>
            </p:custDataLst>
          </p:nvPr>
        </p:nvGrpSpPr>
        <p:grpSpPr>
          <a:xfrm>
            <a:off x="0" y="944429"/>
            <a:ext cx="7396314" cy="257443"/>
            <a:chOff x="0" y="876300"/>
            <a:chExt cx="7396314" cy="257443"/>
          </a:xfrm>
        </p:grpSpPr>
        <p:sp>
          <p:nvSpPr>
            <p:cNvPr id="55" name="btfpRunningAgenda2LevelBarLeft873389">
              <a:extLst>
                <a:ext uri="{FF2B5EF4-FFF2-40B4-BE49-F238E27FC236}">
                  <a16:creationId xmlns:a16="http://schemas.microsoft.com/office/drawing/2014/main" id="{CF159944-9272-C955-C768-CE4BC28D4155}"/>
                </a:ext>
              </a:extLst>
            </p:cNvPr>
            <p:cNvSpPr/>
            <p:nvPr/>
          </p:nvSpPr>
          <p:spPr bwMode="gray">
            <a:xfrm>
              <a:off x="0" y="876300"/>
              <a:ext cx="3650259" cy="257443"/>
            </a:xfrm>
            <a:custGeom>
              <a:avLst/>
              <a:gdLst/>
              <a:ahLst/>
              <a:cxnLst/>
              <a:rect l="0" t="0" r="0" b="0"/>
              <a:pathLst>
                <a:path w="3650259" h="257443">
                  <a:moveTo>
                    <a:pt x="0" y="0"/>
                  </a:moveTo>
                  <a:lnTo>
                    <a:pt x="3650258" y="0"/>
                  </a:lnTo>
                  <a:lnTo>
                    <a:pt x="3595537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0" name="btfpRunningAgenda2LevelTextLeft873389">
              <a:extLst>
                <a:ext uri="{FF2B5EF4-FFF2-40B4-BE49-F238E27FC236}">
                  <a16:creationId xmlns:a16="http://schemas.microsoft.com/office/drawing/2014/main" id="{FD6BED25-1F73-ACE5-DF50-0EA19D3AE30E}"/>
                </a:ext>
              </a:extLst>
            </p:cNvPr>
            <p:cNvSpPr txBox="1"/>
            <p:nvPr/>
          </p:nvSpPr>
          <p:spPr bwMode="gray">
            <a:xfrm>
              <a:off x="0" y="876300"/>
              <a:ext cx="359553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nsumer sentiment</a:t>
              </a:r>
            </a:p>
          </p:txBody>
        </p:sp>
        <p:sp>
          <p:nvSpPr>
            <p:cNvPr id="59" name="btfpRunningAgenda2LevelBarRight873389">
              <a:extLst>
                <a:ext uri="{FF2B5EF4-FFF2-40B4-BE49-F238E27FC236}">
                  <a16:creationId xmlns:a16="http://schemas.microsoft.com/office/drawing/2014/main" id="{7E994A14-102A-E507-00CD-E403E459D26D}"/>
                </a:ext>
              </a:extLst>
            </p:cNvPr>
            <p:cNvSpPr/>
            <p:nvPr/>
          </p:nvSpPr>
          <p:spPr bwMode="gray">
            <a:xfrm>
              <a:off x="3515416" y="876300"/>
              <a:ext cx="3880898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259987 w 1259987"/>
                <a:gd name="connsiteY0" fmla="*/ 0 h 257442"/>
                <a:gd name="connsiteX1" fmla="*/ 880049 w 1259987"/>
                <a:gd name="connsiteY1" fmla="*/ 257442 h 257442"/>
                <a:gd name="connsiteX2" fmla="*/ 0 w 1259987"/>
                <a:gd name="connsiteY2" fmla="*/ 257442 h 257442"/>
                <a:gd name="connsiteX3" fmla="*/ 54721 w 1259987"/>
                <a:gd name="connsiteY3" fmla="*/ 0 h 257442"/>
                <a:gd name="connsiteX0" fmla="*/ 1259987 w 1259987"/>
                <a:gd name="connsiteY0" fmla="*/ 0 h 257442"/>
                <a:gd name="connsiteX1" fmla="*/ 1205266 w 1259987"/>
                <a:gd name="connsiteY1" fmla="*/ 257442 h 257442"/>
                <a:gd name="connsiteX2" fmla="*/ 0 w 1259987"/>
                <a:gd name="connsiteY2" fmla="*/ 257442 h 257442"/>
                <a:gd name="connsiteX3" fmla="*/ 54721 w 1259987"/>
                <a:gd name="connsiteY3" fmla="*/ 0 h 257442"/>
                <a:gd name="connsiteX0" fmla="*/ 1259988 w 1259988"/>
                <a:gd name="connsiteY0" fmla="*/ 0 h 257442"/>
                <a:gd name="connsiteX1" fmla="*/ 1205267 w 1259988"/>
                <a:gd name="connsiteY1" fmla="*/ 257442 h 257442"/>
                <a:gd name="connsiteX2" fmla="*/ 0 w 1259988"/>
                <a:gd name="connsiteY2" fmla="*/ 257442 h 257442"/>
                <a:gd name="connsiteX3" fmla="*/ 54722 w 1259988"/>
                <a:gd name="connsiteY3" fmla="*/ 0 h 257442"/>
                <a:gd name="connsiteX0" fmla="*/ 1259988 w 1259988"/>
                <a:gd name="connsiteY0" fmla="*/ 0 h 257442"/>
                <a:gd name="connsiteX1" fmla="*/ 1205267 w 1259988"/>
                <a:gd name="connsiteY1" fmla="*/ 257442 h 257442"/>
                <a:gd name="connsiteX2" fmla="*/ 0 w 1259988"/>
                <a:gd name="connsiteY2" fmla="*/ 257442 h 257442"/>
                <a:gd name="connsiteX3" fmla="*/ 54721 w 1259988"/>
                <a:gd name="connsiteY3" fmla="*/ 0 h 257442"/>
                <a:gd name="connsiteX0" fmla="*/ 1437921 w 1437921"/>
                <a:gd name="connsiteY0" fmla="*/ 0 h 257442"/>
                <a:gd name="connsiteX1" fmla="*/ 1205267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598221 w 1598221"/>
                <a:gd name="connsiteY0" fmla="*/ 0 h 257442"/>
                <a:gd name="connsiteX1" fmla="*/ 1383200 w 1598221"/>
                <a:gd name="connsiteY1" fmla="*/ 257442 h 257442"/>
                <a:gd name="connsiteX2" fmla="*/ 0 w 1598221"/>
                <a:gd name="connsiteY2" fmla="*/ 257442 h 257442"/>
                <a:gd name="connsiteX3" fmla="*/ 54721 w 1598221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0 w 1598221"/>
                <a:gd name="connsiteY2" fmla="*/ 257442 h 257442"/>
                <a:gd name="connsiteX3" fmla="*/ 54721 w 1598221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0 w 1598221"/>
                <a:gd name="connsiteY2" fmla="*/ 257442 h 257442"/>
                <a:gd name="connsiteX3" fmla="*/ 54721 w 1598221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0 w 1598221"/>
                <a:gd name="connsiteY2" fmla="*/ 257442 h 257442"/>
                <a:gd name="connsiteX3" fmla="*/ 54721 w 1598221"/>
                <a:gd name="connsiteY3" fmla="*/ 0 h 257442"/>
                <a:gd name="connsiteX0" fmla="*/ 1851496 w 1851496"/>
                <a:gd name="connsiteY0" fmla="*/ 0 h 257442"/>
                <a:gd name="connsiteX1" fmla="*/ 1543500 w 1851496"/>
                <a:gd name="connsiteY1" fmla="*/ 257442 h 257442"/>
                <a:gd name="connsiteX2" fmla="*/ 0 w 1851496"/>
                <a:gd name="connsiteY2" fmla="*/ 257442 h 257442"/>
                <a:gd name="connsiteX3" fmla="*/ 54721 w 1851496"/>
                <a:gd name="connsiteY3" fmla="*/ 0 h 257442"/>
                <a:gd name="connsiteX0" fmla="*/ 1851496 w 1851496"/>
                <a:gd name="connsiteY0" fmla="*/ 0 h 257442"/>
                <a:gd name="connsiteX1" fmla="*/ 1796774 w 1851496"/>
                <a:gd name="connsiteY1" fmla="*/ 257442 h 257442"/>
                <a:gd name="connsiteX2" fmla="*/ 0 w 1851496"/>
                <a:gd name="connsiteY2" fmla="*/ 257442 h 257442"/>
                <a:gd name="connsiteX3" fmla="*/ 54721 w 1851496"/>
                <a:gd name="connsiteY3" fmla="*/ 0 h 257442"/>
                <a:gd name="connsiteX0" fmla="*/ 1851497 w 1851497"/>
                <a:gd name="connsiteY0" fmla="*/ 0 h 257442"/>
                <a:gd name="connsiteX1" fmla="*/ 1796775 w 1851497"/>
                <a:gd name="connsiteY1" fmla="*/ 257442 h 257442"/>
                <a:gd name="connsiteX2" fmla="*/ 0 w 1851497"/>
                <a:gd name="connsiteY2" fmla="*/ 257442 h 257442"/>
                <a:gd name="connsiteX3" fmla="*/ 54722 w 1851497"/>
                <a:gd name="connsiteY3" fmla="*/ 0 h 257442"/>
                <a:gd name="connsiteX0" fmla="*/ 1851497 w 1851497"/>
                <a:gd name="connsiteY0" fmla="*/ 0 h 257442"/>
                <a:gd name="connsiteX1" fmla="*/ 1796775 w 1851497"/>
                <a:gd name="connsiteY1" fmla="*/ 257442 h 257442"/>
                <a:gd name="connsiteX2" fmla="*/ 0 w 1851497"/>
                <a:gd name="connsiteY2" fmla="*/ 257442 h 257442"/>
                <a:gd name="connsiteX3" fmla="*/ 54722 w 1851497"/>
                <a:gd name="connsiteY3" fmla="*/ 0 h 257442"/>
                <a:gd name="connsiteX0" fmla="*/ 2019813 w 2019813"/>
                <a:gd name="connsiteY0" fmla="*/ 0 h 257442"/>
                <a:gd name="connsiteX1" fmla="*/ 1796775 w 2019813"/>
                <a:gd name="connsiteY1" fmla="*/ 257442 h 257442"/>
                <a:gd name="connsiteX2" fmla="*/ 0 w 2019813"/>
                <a:gd name="connsiteY2" fmla="*/ 257442 h 257442"/>
                <a:gd name="connsiteX3" fmla="*/ 54722 w 2019813"/>
                <a:gd name="connsiteY3" fmla="*/ 0 h 257442"/>
                <a:gd name="connsiteX0" fmla="*/ 2019813 w 2019813"/>
                <a:gd name="connsiteY0" fmla="*/ 0 h 257442"/>
                <a:gd name="connsiteX1" fmla="*/ 1965092 w 2019813"/>
                <a:gd name="connsiteY1" fmla="*/ 257442 h 257442"/>
                <a:gd name="connsiteX2" fmla="*/ 0 w 2019813"/>
                <a:gd name="connsiteY2" fmla="*/ 257442 h 257442"/>
                <a:gd name="connsiteX3" fmla="*/ 54722 w 2019813"/>
                <a:gd name="connsiteY3" fmla="*/ 0 h 257442"/>
                <a:gd name="connsiteX0" fmla="*/ 2019812 w 2019812"/>
                <a:gd name="connsiteY0" fmla="*/ 0 h 257442"/>
                <a:gd name="connsiteX1" fmla="*/ 1965091 w 2019812"/>
                <a:gd name="connsiteY1" fmla="*/ 257442 h 257442"/>
                <a:gd name="connsiteX2" fmla="*/ 0 w 2019812"/>
                <a:gd name="connsiteY2" fmla="*/ 257442 h 257442"/>
                <a:gd name="connsiteX3" fmla="*/ 54721 w 2019812"/>
                <a:gd name="connsiteY3" fmla="*/ 0 h 257442"/>
                <a:gd name="connsiteX0" fmla="*/ 2019812 w 2019812"/>
                <a:gd name="connsiteY0" fmla="*/ 0 h 257442"/>
                <a:gd name="connsiteX1" fmla="*/ 1965091 w 2019812"/>
                <a:gd name="connsiteY1" fmla="*/ 257442 h 257442"/>
                <a:gd name="connsiteX2" fmla="*/ 0 w 2019812"/>
                <a:gd name="connsiteY2" fmla="*/ 257442 h 257442"/>
                <a:gd name="connsiteX3" fmla="*/ 54720 w 2019812"/>
                <a:gd name="connsiteY3" fmla="*/ 0 h 257442"/>
                <a:gd name="connsiteX0" fmla="*/ 2188126 w 2188126"/>
                <a:gd name="connsiteY0" fmla="*/ 0 h 257442"/>
                <a:gd name="connsiteX1" fmla="*/ 1965091 w 2188126"/>
                <a:gd name="connsiteY1" fmla="*/ 257442 h 257442"/>
                <a:gd name="connsiteX2" fmla="*/ 0 w 2188126"/>
                <a:gd name="connsiteY2" fmla="*/ 257442 h 257442"/>
                <a:gd name="connsiteX3" fmla="*/ 54720 w 2188126"/>
                <a:gd name="connsiteY3" fmla="*/ 0 h 257442"/>
                <a:gd name="connsiteX0" fmla="*/ 2188126 w 2188126"/>
                <a:gd name="connsiteY0" fmla="*/ 0 h 257442"/>
                <a:gd name="connsiteX1" fmla="*/ 2133405 w 2188126"/>
                <a:gd name="connsiteY1" fmla="*/ 257442 h 257442"/>
                <a:gd name="connsiteX2" fmla="*/ 0 w 2188126"/>
                <a:gd name="connsiteY2" fmla="*/ 257442 h 257442"/>
                <a:gd name="connsiteX3" fmla="*/ 54720 w 2188126"/>
                <a:gd name="connsiteY3" fmla="*/ 0 h 257442"/>
                <a:gd name="connsiteX0" fmla="*/ 2188127 w 2188127"/>
                <a:gd name="connsiteY0" fmla="*/ 0 h 257442"/>
                <a:gd name="connsiteX1" fmla="*/ 2133406 w 2188127"/>
                <a:gd name="connsiteY1" fmla="*/ 257442 h 257442"/>
                <a:gd name="connsiteX2" fmla="*/ 0 w 2188127"/>
                <a:gd name="connsiteY2" fmla="*/ 257442 h 257442"/>
                <a:gd name="connsiteX3" fmla="*/ 54721 w 2188127"/>
                <a:gd name="connsiteY3" fmla="*/ 0 h 257442"/>
                <a:gd name="connsiteX0" fmla="*/ 2188127 w 2188127"/>
                <a:gd name="connsiteY0" fmla="*/ 0 h 257442"/>
                <a:gd name="connsiteX1" fmla="*/ 2133406 w 2188127"/>
                <a:gd name="connsiteY1" fmla="*/ 257442 h 257442"/>
                <a:gd name="connsiteX2" fmla="*/ 0 w 2188127"/>
                <a:gd name="connsiteY2" fmla="*/ 257442 h 257442"/>
                <a:gd name="connsiteX3" fmla="*/ 54722 w 2188127"/>
                <a:gd name="connsiteY3" fmla="*/ 0 h 257442"/>
                <a:gd name="connsiteX0" fmla="*/ 2356443 w 2356443"/>
                <a:gd name="connsiteY0" fmla="*/ 0 h 257442"/>
                <a:gd name="connsiteX1" fmla="*/ 2133406 w 2356443"/>
                <a:gd name="connsiteY1" fmla="*/ 257442 h 257442"/>
                <a:gd name="connsiteX2" fmla="*/ 0 w 2356443"/>
                <a:gd name="connsiteY2" fmla="*/ 257442 h 257442"/>
                <a:gd name="connsiteX3" fmla="*/ 54722 w 2356443"/>
                <a:gd name="connsiteY3" fmla="*/ 0 h 257442"/>
                <a:gd name="connsiteX0" fmla="*/ 2356443 w 2356443"/>
                <a:gd name="connsiteY0" fmla="*/ 0 h 257442"/>
                <a:gd name="connsiteX1" fmla="*/ 2301722 w 2356443"/>
                <a:gd name="connsiteY1" fmla="*/ 257442 h 257442"/>
                <a:gd name="connsiteX2" fmla="*/ 0 w 2356443"/>
                <a:gd name="connsiteY2" fmla="*/ 257442 h 257442"/>
                <a:gd name="connsiteX3" fmla="*/ 54722 w 2356443"/>
                <a:gd name="connsiteY3" fmla="*/ 0 h 257442"/>
                <a:gd name="connsiteX0" fmla="*/ 2356442 w 2356442"/>
                <a:gd name="connsiteY0" fmla="*/ 0 h 257442"/>
                <a:gd name="connsiteX1" fmla="*/ 2301721 w 2356442"/>
                <a:gd name="connsiteY1" fmla="*/ 257442 h 257442"/>
                <a:gd name="connsiteX2" fmla="*/ 0 w 2356442"/>
                <a:gd name="connsiteY2" fmla="*/ 257442 h 257442"/>
                <a:gd name="connsiteX3" fmla="*/ 54721 w 2356442"/>
                <a:gd name="connsiteY3" fmla="*/ 0 h 257442"/>
                <a:gd name="connsiteX0" fmla="*/ 2356442 w 2356442"/>
                <a:gd name="connsiteY0" fmla="*/ 0 h 257442"/>
                <a:gd name="connsiteX1" fmla="*/ 2301721 w 2356442"/>
                <a:gd name="connsiteY1" fmla="*/ 257442 h 257442"/>
                <a:gd name="connsiteX2" fmla="*/ 0 w 2356442"/>
                <a:gd name="connsiteY2" fmla="*/ 257442 h 257442"/>
                <a:gd name="connsiteX3" fmla="*/ 54720 w 2356442"/>
                <a:gd name="connsiteY3" fmla="*/ 0 h 257442"/>
                <a:gd name="connsiteX0" fmla="*/ 2524756 w 2524756"/>
                <a:gd name="connsiteY0" fmla="*/ 0 h 257442"/>
                <a:gd name="connsiteX1" fmla="*/ 2301721 w 2524756"/>
                <a:gd name="connsiteY1" fmla="*/ 257442 h 257442"/>
                <a:gd name="connsiteX2" fmla="*/ 0 w 2524756"/>
                <a:gd name="connsiteY2" fmla="*/ 257442 h 257442"/>
                <a:gd name="connsiteX3" fmla="*/ 54720 w 2524756"/>
                <a:gd name="connsiteY3" fmla="*/ 0 h 257442"/>
                <a:gd name="connsiteX0" fmla="*/ 2524756 w 2524756"/>
                <a:gd name="connsiteY0" fmla="*/ 0 h 257442"/>
                <a:gd name="connsiteX1" fmla="*/ 2470035 w 2524756"/>
                <a:gd name="connsiteY1" fmla="*/ 257442 h 257442"/>
                <a:gd name="connsiteX2" fmla="*/ 0 w 2524756"/>
                <a:gd name="connsiteY2" fmla="*/ 257442 h 257442"/>
                <a:gd name="connsiteX3" fmla="*/ 54720 w 2524756"/>
                <a:gd name="connsiteY3" fmla="*/ 0 h 257442"/>
                <a:gd name="connsiteX0" fmla="*/ 2524757 w 2524757"/>
                <a:gd name="connsiteY0" fmla="*/ 0 h 257442"/>
                <a:gd name="connsiteX1" fmla="*/ 2470036 w 2524757"/>
                <a:gd name="connsiteY1" fmla="*/ 257442 h 257442"/>
                <a:gd name="connsiteX2" fmla="*/ 0 w 2524757"/>
                <a:gd name="connsiteY2" fmla="*/ 257442 h 257442"/>
                <a:gd name="connsiteX3" fmla="*/ 54721 w 2524757"/>
                <a:gd name="connsiteY3" fmla="*/ 0 h 257442"/>
                <a:gd name="connsiteX0" fmla="*/ 2524757 w 2524757"/>
                <a:gd name="connsiteY0" fmla="*/ 0 h 257442"/>
                <a:gd name="connsiteX1" fmla="*/ 2470036 w 2524757"/>
                <a:gd name="connsiteY1" fmla="*/ 257442 h 257442"/>
                <a:gd name="connsiteX2" fmla="*/ 0 w 2524757"/>
                <a:gd name="connsiteY2" fmla="*/ 257442 h 257442"/>
                <a:gd name="connsiteX3" fmla="*/ 54722 w 2524757"/>
                <a:gd name="connsiteY3" fmla="*/ 0 h 257442"/>
                <a:gd name="connsiteX0" fmla="*/ 2693074 w 2693074"/>
                <a:gd name="connsiteY0" fmla="*/ 0 h 257442"/>
                <a:gd name="connsiteX1" fmla="*/ 2470036 w 2693074"/>
                <a:gd name="connsiteY1" fmla="*/ 257442 h 257442"/>
                <a:gd name="connsiteX2" fmla="*/ 0 w 2693074"/>
                <a:gd name="connsiteY2" fmla="*/ 257442 h 257442"/>
                <a:gd name="connsiteX3" fmla="*/ 54722 w 2693074"/>
                <a:gd name="connsiteY3" fmla="*/ 0 h 257442"/>
                <a:gd name="connsiteX0" fmla="*/ 2693074 w 2693074"/>
                <a:gd name="connsiteY0" fmla="*/ 0 h 257442"/>
                <a:gd name="connsiteX1" fmla="*/ 2638352 w 2693074"/>
                <a:gd name="connsiteY1" fmla="*/ 257442 h 257442"/>
                <a:gd name="connsiteX2" fmla="*/ 0 w 2693074"/>
                <a:gd name="connsiteY2" fmla="*/ 257442 h 257442"/>
                <a:gd name="connsiteX3" fmla="*/ 54722 w 2693074"/>
                <a:gd name="connsiteY3" fmla="*/ 0 h 257442"/>
                <a:gd name="connsiteX0" fmla="*/ 2693074 w 2693074"/>
                <a:gd name="connsiteY0" fmla="*/ 0 h 257442"/>
                <a:gd name="connsiteX1" fmla="*/ 2638352 w 2693074"/>
                <a:gd name="connsiteY1" fmla="*/ 257442 h 257442"/>
                <a:gd name="connsiteX2" fmla="*/ 0 w 2693074"/>
                <a:gd name="connsiteY2" fmla="*/ 257442 h 257442"/>
                <a:gd name="connsiteX3" fmla="*/ 54722 w 2693074"/>
                <a:gd name="connsiteY3" fmla="*/ 0 h 257442"/>
                <a:gd name="connsiteX0" fmla="*/ 2693074 w 2693074"/>
                <a:gd name="connsiteY0" fmla="*/ 0 h 257442"/>
                <a:gd name="connsiteX1" fmla="*/ 2638352 w 2693074"/>
                <a:gd name="connsiteY1" fmla="*/ 257442 h 257442"/>
                <a:gd name="connsiteX2" fmla="*/ 0 w 2693074"/>
                <a:gd name="connsiteY2" fmla="*/ 257442 h 257442"/>
                <a:gd name="connsiteX3" fmla="*/ 54721 w 2693074"/>
                <a:gd name="connsiteY3" fmla="*/ 0 h 257442"/>
                <a:gd name="connsiteX0" fmla="*/ 2962377 w 2962377"/>
                <a:gd name="connsiteY0" fmla="*/ 0 h 257442"/>
                <a:gd name="connsiteX1" fmla="*/ 2638352 w 2962377"/>
                <a:gd name="connsiteY1" fmla="*/ 257442 h 257442"/>
                <a:gd name="connsiteX2" fmla="*/ 0 w 2962377"/>
                <a:gd name="connsiteY2" fmla="*/ 257442 h 257442"/>
                <a:gd name="connsiteX3" fmla="*/ 54721 w 2962377"/>
                <a:gd name="connsiteY3" fmla="*/ 0 h 257442"/>
                <a:gd name="connsiteX0" fmla="*/ 2962377 w 2962377"/>
                <a:gd name="connsiteY0" fmla="*/ 0 h 257442"/>
                <a:gd name="connsiteX1" fmla="*/ 2907656 w 2962377"/>
                <a:gd name="connsiteY1" fmla="*/ 257442 h 257442"/>
                <a:gd name="connsiteX2" fmla="*/ 0 w 2962377"/>
                <a:gd name="connsiteY2" fmla="*/ 257442 h 257442"/>
                <a:gd name="connsiteX3" fmla="*/ 54721 w 2962377"/>
                <a:gd name="connsiteY3" fmla="*/ 0 h 257442"/>
                <a:gd name="connsiteX0" fmla="*/ 2962377 w 2962377"/>
                <a:gd name="connsiteY0" fmla="*/ 0 h 257442"/>
                <a:gd name="connsiteX1" fmla="*/ 2907656 w 2962377"/>
                <a:gd name="connsiteY1" fmla="*/ 257442 h 257442"/>
                <a:gd name="connsiteX2" fmla="*/ 0 w 2962377"/>
                <a:gd name="connsiteY2" fmla="*/ 257442 h 257442"/>
                <a:gd name="connsiteX3" fmla="*/ 54721 w 2962377"/>
                <a:gd name="connsiteY3" fmla="*/ 0 h 257442"/>
                <a:gd name="connsiteX0" fmla="*/ 2962377 w 2962377"/>
                <a:gd name="connsiteY0" fmla="*/ 0 h 257442"/>
                <a:gd name="connsiteX1" fmla="*/ 2907656 w 2962377"/>
                <a:gd name="connsiteY1" fmla="*/ 257442 h 257442"/>
                <a:gd name="connsiteX2" fmla="*/ 0 w 2962377"/>
                <a:gd name="connsiteY2" fmla="*/ 257442 h 257442"/>
                <a:gd name="connsiteX3" fmla="*/ 54721 w 2962377"/>
                <a:gd name="connsiteY3" fmla="*/ 0 h 257442"/>
                <a:gd name="connsiteX0" fmla="*/ 3130692 w 3130692"/>
                <a:gd name="connsiteY0" fmla="*/ 0 h 257442"/>
                <a:gd name="connsiteX1" fmla="*/ 2907656 w 3130692"/>
                <a:gd name="connsiteY1" fmla="*/ 257442 h 257442"/>
                <a:gd name="connsiteX2" fmla="*/ 0 w 3130692"/>
                <a:gd name="connsiteY2" fmla="*/ 257442 h 257442"/>
                <a:gd name="connsiteX3" fmla="*/ 54721 w 3130692"/>
                <a:gd name="connsiteY3" fmla="*/ 0 h 257442"/>
                <a:gd name="connsiteX0" fmla="*/ 3130692 w 3130692"/>
                <a:gd name="connsiteY0" fmla="*/ 0 h 257442"/>
                <a:gd name="connsiteX1" fmla="*/ 3075970 w 3130692"/>
                <a:gd name="connsiteY1" fmla="*/ 257442 h 257442"/>
                <a:gd name="connsiteX2" fmla="*/ 0 w 3130692"/>
                <a:gd name="connsiteY2" fmla="*/ 257442 h 257442"/>
                <a:gd name="connsiteX3" fmla="*/ 54721 w 3130692"/>
                <a:gd name="connsiteY3" fmla="*/ 0 h 257442"/>
                <a:gd name="connsiteX0" fmla="*/ 3130693 w 3130693"/>
                <a:gd name="connsiteY0" fmla="*/ 0 h 257442"/>
                <a:gd name="connsiteX1" fmla="*/ 3075971 w 3130693"/>
                <a:gd name="connsiteY1" fmla="*/ 257442 h 257442"/>
                <a:gd name="connsiteX2" fmla="*/ 0 w 3130693"/>
                <a:gd name="connsiteY2" fmla="*/ 257442 h 257442"/>
                <a:gd name="connsiteX3" fmla="*/ 54722 w 3130693"/>
                <a:gd name="connsiteY3" fmla="*/ 0 h 257442"/>
                <a:gd name="connsiteX0" fmla="*/ 3130693 w 3130693"/>
                <a:gd name="connsiteY0" fmla="*/ 0 h 257442"/>
                <a:gd name="connsiteX1" fmla="*/ 3075971 w 3130693"/>
                <a:gd name="connsiteY1" fmla="*/ 257442 h 257442"/>
                <a:gd name="connsiteX2" fmla="*/ 0 w 3130693"/>
                <a:gd name="connsiteY2" fmla="*/ 257442 h 257442"/>
                <a:gd name="connsiteX3" fmla="*/ 54722 w 3130693"/>
                <a:gd name="connsiteY3" fmla="*/ 0 h 257442"/>
                <a:gd name="connsiteX0" fmla="*/ 3391983 w 3391983"/>
                <a:gd name="connsiteY0" fmla="*/ 0 h 257442"/>
                <a:gd name="connsiteX1" fmla="*/ 3075971 w 3391983"/>
                <a:gd name="connsiteY1" fmla="*/ 257442 h 257442"/>
                <a:gd name="connsiteX2" fmla="*/ 0 w 3391983"/>
                <a:gd name="connsiteY2" fmla="*/ 257442 h 257442"/>
                <a:gd name="connsiteX3" fmla="*/ 54722 w 3391983"/>
                <a:gd name="connsiteY3" fmla="*/ 0 h 257442"/>
                <a:gd name="connsiteX0" fmla="*/ 3391983 w 3391983"/>
                <a:gd name="connsiteY0" fmla="*/ 0 h 257442"/>
                <a:gd name="connsiteX1" fmla="*/ 3337262 w 3391983"/>
                <a:gd name="connsiteY1" fmla="*/ 257442 h 257442"/>
                <a:gd name="connsiteX2" fmla="*/ 0 w 3391983"/>
                <a:gd name="connsiteY2" fmla="*/ 257442 h 257442"/>
                <a:gd name="connsiteX3" fmla="*/ 54722 w 3391983"/>
                <a:gd name="connsiteY3" fmla="*/ 0 h 257442"/>
                <a:gd name="connsiteX0" fmla="*/ 3391982 w 3391982"/>
                <a:gd name="connsiteY0" fmla="*/ 0 h 257442"/>
                <a:gd name="connsiteX1" fmla="*/ 3337261 w 3391982"/>
                <a:gd name="connsiteY1" fmla="*/ 257442 h 257442"/>
                <a:gd name="connsiteX2" fmla="*/ 0 w 3391982"/>
                <a:gd name="connsiteY2" fmla="*/ 257442 h 257442"/>
                <a:gd name="connsiteX3" fmla="*/ 54721 w 3391982"/>
                <a:gd name="connsiteY3" fmla="*/ 0 h 257442"/>
                <a:gd name="connsiteX0" fmla="*/ 3391982 w 3391982"/>
                <a:gd name="connsiteY0" fmla="*/ 0 h 257442"/>
                <a:gd name="connsiteX1" fmla="*/ 3337261 w 3391982"/>
                <a:gd name="connsiteY1" fmla="*/ 257442 h 257442"/>
                <a:gd name="connsiteX2" fmla="*/ 0 w 3391982"/>
                <a:gd name="connsiteY2" fmla="*/ 257442 h 257442"/>
                <a:gd name="connsiteX3" fmla="*/ 54720 w 3391982"/>
                <a:gd name="connsiteY3" fmla="*/ 0 h 257442"/>
                <a:gd name="connsiteX0" fmla="*/ 3552282 w 3552282"/>
                <a:gd name="connsiteY0" fmla="*/ 0 h 257442"/>
                <a:gd name="connsiteX1" fmla="*/ 3337261 w 3552282"/>
                <a:gd name="connsiteY1" fmla="*/ 257442 h 257442"/>
                <a:gd name="connsiteX2" fmla="*/ 0 w 3552282"/>
                <a:gd name="connsiteY2" fmla="*/ 257442 h 257442"/>
                <a:gd name="connsiteX3" fmla="*/ 54720 w 3552282"/>
                <a:gd name="connsiteY3" fmla="*/ 0 h 257442"/>
                <a:gd name="connsiteX0" fmla="*/ 3552282 w 3552282"/>
                <a:gd name="connsiteY0" fmla="*/ 0 h 257442"/>
                <a:gd name="connsiteX1" fmla="*/ 3497561 w 3552282"/>
                <a:gd name="connsiteY1" fmla="*/ 257442 h 257442"/>
                <a:gd name="connsiteX2" fmla="*/ 0 w 3552282"/>
                <a:gd name="connsiteY2" fmla="*/ 257442 h 257442"/>
                <a:gd name="connsiteX3" fmla="*/ 54720 w 3552282"/>
                <a:gd name="connsiteY3" fmla="*/ 0 h 257442"/>
                <a:gd name="connsiteX0" fmla="*/ 3552283 w 3552283"/>
                <a:gd name="connsiteY0" fmla="*/ 0 h 257442"/>
                <a:gd name="connsiteX1" fmla="*/ 3497562 w 3552283"/>
                <a:gd name="connsiteY1" fmla="*/ 257442 h 257442"/>
                <a:gd name="connsiteX2" fmla="*/ 0 w 3552283"/>
                <a:gd name="connsiteY2" fmla="*/ 257442 h 257442"/>
                <a:gd name="connsiteX3" fmla="*/ 54721 w 3552283"/>
                <a:gd name="connsiteY3" fmla="*/ 0 h 257442"/>
                <a:gd name="connsiteX0" fmla="*/ 3552283 w 3552283"/>
                <a:gd name="connsiteY0" fmla="*/ 0 h 257442"/>
                <a:gd name="connsiteX1" fmla="*/ 3497562 w 3552283"/>
                <a:gd name="connsiteY1" fmla="*/ 257442 h 257442"/>
                <a:gd name="connsiteX2" fmla="*/ 0 w 3552283"/>
                <a:gd name="connsiteY2" fmla="*/ 257442 h 257442"/>
                <a:gd name="connsiteX3" fmla="*/ 54722 w 3552283"/>
                <a:gd name="connsiteY3" fmla="*/ 0 h 257442"/>
                <a:gd name="connsiteX0" fmla="*/ 3720598 w 3720598"/>
                <a:gd name="connsiteY0" fmla="*/ 0 h 257442"/>
                <a:gd name="connsiteX1" fmla="*/ 3497562 w 3720598"/>
                <a:gd name="connsiteY1" fmla="*/ 257442 h 257442"/>
                <a:gd name="connsiteX2" fmla="*/ 0 w 3720598"/>
                <a:gd name="connsiteY2" fmla="*/ 257442 h 257442"/>
                <a:gd name="connsiteX3" fmla="*/ 54722 w 3720598"/>
                <a:gd name="connsiteY3" fmla="*/ 0 h 257442"/>
                <a:gd name="connsiteX0" fmla="*/ 3720598 w 3720598"/>
                <a:gd name="connsiteY0" fmla="*/ 0 h 257442"/>
                <a:gd name="connsiteX1" fmla="*/ 3665876 w 3720598"/>
                <a:gd name="connsiteY1" fmla="*/ 257442 h 257442"/>
                <a:gd name="connsiteX2" fmla="*/ 0 w 3720598"/>
                <a:gd name="connsiteY2" fmla="*/ 257442 h 257442"/>
                <a:gd name="connsiteX3" fmla="*/ 54722 w 3720598"/>
                <a:gd name="connsiteY3" fmla="*/ 0 h 257442"/>
                <a:gd name="connsiteX0" fmla="*/ 3720598 w 3720598"/>
                <a:gd name="connsiteY0" fmla="*/ 0 h 257442"/>
                <a:gd name="connsiteX1" fmla="*/ 3665876 w 3720598"/>
                <a:gd name="connsiteY1" fmla="*/ 257442 h 257442"/>
                <a:gd name="connsiteX2" fmla="*/ 0 w 3720598"/>
                <a:gd name="connsiteY2" fmla="*/ 257442 h 257442"/>
                <a:gd name="connsiteX3" fmla="*/ 54722 w 3720598"/>
                <a:gd name="connsiteY3" fmla="*/ 0 h 257442"/>
                <a:gd name="connsiteX0" fmla="*/ 3720598 w 3720598"/>
                <a:gd name="connsiteY0" fmla="*/ 0 h 257442"/>
                <a:gd name="connsiteX1" fmla="*/ 3665876 w 3720598"/>
                <a:gd name="connsiteY1" fmla="*/ 257442 h 257442"/>
                <a:gd name="connsiteX2" fmla="*/ 0 w 3720598"/>
                <a:gd name="connsiteY2" fmla="*/ 257442 h 257442"/>
                <a:gd name="connsiteX3" fmla="*/ 54721 w 3720598"/>
                <a:gd name="connsiteY3" fmla="*/ 0 h 257442"/>
                <a:gd name="connsiteX0" fmla="*/ 3880898 w 3880898"/>
                <a:gd name="connsiteY0" fmla="*/ 0 h 257442"/>
                <a:gd name="connsiteX1" fmla="*/ 3665876 w 3880898"/>
                <a:gd name="connsiteY1" fmla="*/ 257442 h 257442"/>
                <a:gd name="connsiteX2" fmla="*/ 0 w 3880898"/>
                <a:gd name="connsiteY2" fmla="*/ 257442 h 257442"/>
                <a:gd name="connsiteX3" fmla="*/ 54721 w 3880898"/>
                <a:gd name="connsiteY3" fmla="*/ 0 h 257442"/>
                <a:gd name="connsiteX0" fmla="*/ 3880898 w 3880898"/>
                <a:gd name="connsiteY0" fmla="*/ 0 h 257442"/>
                <a:gd name="connsiteX1" fmla="*/ 3826177 w 3880898"/>
                <a:gd name="connsiteY1" fmla="*/ 257442 h 257442"/>
                <a:gd name="connsiteX2" fmla="*/ 0 w 3880898"/>
                <a:gd name="connsiteY2" fmla="*/ 257442 h 257442"/>
                <a:gd name="connsiteX3" fmla="*/ 54721 w 3880898"/>
                <a:gd name="connsiteY3" fmla="*/ 0 h 257442"/>
                <a:gd name="connsiteX0" fmla="*/ 3880898 w 3880898"/>
                <a:gd name="connsiteY0" fmla="*/ 0 h 257442"/>
                <a:gd name="connsiteX1" fmla="*/ 3826177 w 3880898"/>
                <a:gd name="connsiteY1" fmla="*/ 257442 h 257442"/>
                <a:gd name="connsiteX2" fmla="*/ 0 w 3880898"/>
                <a:gd name="connsiteY2" fmla="*/ 257442 h 257442"/>
                <a:gd name="connsiteX3" fmla="*/ 54721 w 3880898"/>
                <a:gd name="connsiteY3" fmla="*/ 0 h 257442"/>
                <a:gd name="connsiteX0" fmla="*/ 3880898 w 3880898"/>
                <a:gd name="connsiteY0" fmla="*/ 0 h 257442"/>
                <a:gd name="connsiteX1" fmla="*/ 3826177 w 3880898"/>
                <a:gd name="connsiteY1" fmla="*/ 257442 h 257442"/>
                <a:gd name="connsiteX2" fmla="*/ 0 w 3880898"/>
                <a:gd name="connsiteY2" fmla="*/ 257442 h 257442"/>
                <a:gd name="connsiteX3" fmla="*/ 54721 w 388089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80898" h="257442">
                  <a:moveTo>
                    <a:pt x="3880898" y="0"/>
                  </a:moveTo>
                  <a:lnTo>
                    <a:pt x="3826177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8" name="btfpRunningAgenda2LevelTextRight873389">
              <a:extLst>
                <a:ext uri="{FF2B5EF4-FFF2-40B4-BE49-F238E27FC236}">
                  <a16:creationId xmlns:a16="http://schemas.microsoft.com/office/drawing/2014/main" id="{23625941-0B75-D7B1-38E7-2A16BE04EFD0}"/>
                </a:ext>
              </a:extLst>
            </p:cNvPr>
            <p:cNvSpPr txBox="1"/>
            <p:nvPr/>
          </p:nvSpPr>
          <p:spPr bwMode="gray">
            <a:xfrm>
              <a:off x="3515416" y="876300"/>
              <a:ext cx="382617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Target brand drivers</a:t>
              </a:r>
            </a:p>
          </p:txBody>
        </p:sp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78144C13-751A-E375-5692-863741464823}"/>
              </a:ext>
            </a:extLst>
          </p:cNvPr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12" y="950918"/>
            <a:ext cx="257175" cy="250258"/>
          </a:xfrm>
          <a:prstGeom prst="rect">
            <a:avLst/>
          </a:prstGeom>
        </p:spPr>
      </p:pic>
      <p:sp>
        <p:nvSpPr>
          <p:cNvPr id="8" name="btfpQuoteBox701730">
            <a:extLst>
              <a:ext uri="{FF2B5EF4-FFF2-40B4-BE49-F238E27FC236}">
                <a16:creationId xmlns:a16="http://schemas.microsoft.com/office/drawing/2014/main" id="{E1522E27-4F02-178A-1116-BB10AFFB7483}"/>
              </a:ext>
            </a:extLst>
          </p:cNvPr>
          <p:cNvSpPr txBox="1"/>
          <p:nvPr>
            <p:custDataLst>
              <p:tags r:id="rId37"/>
            </p:custDataLst>
          </p:nvPr>
        </p:nvSpPr>
        <p:spPr bwMode="gray">
          <a:xfrm>
            <a:off x="5209591" y="5027737"/>
            <a:ext cx="654912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  <a:defRPr/>
            </a:pPr>
            <a:r>
              <a:rPr kumimoji="0" lang="en-US" sz="90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Just got the 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lular installed for the fire alarm system. Installer was very professional and answered every question</a:t>
            </a:r>
            <a:r>
              <a:rPr kumimoji="0" lang="en-US" sz="90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 had and did a good job!”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974963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Warsaw SSC"/>
  <p:tag name="MEKKOFORMATS" val="&lt;MekkoFormats&gt;&lt;NumberFormat DecimalSeparator=&quot;,&quot; ThousandSeparator=&quot;.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UNDODONOTDELETE" val="0"/>
  <p:tag name="MEKKOMRUCOLORS" val="&lt;?xml version=&quot;1.0&quot; encoding=&quot;utf-8&quot;?&gt;&#10;&lt;MRU&gt;&#10;  &lt;CustomColorsMRU&gt;&#10;    &lt;Color aRGB=&quot;FF712C57&quot; Intensity=&quot;3&quot; /&gt;&#10;    &lt;Color aRGB=&quot;FFFF5050&quot; Intensity=&quot;1&quot; /&gt;&#10;  &lt;/CustomColorsMRU&gt;&#10;  &lt;ColorsPatternsMRU&gt;&#10;    &lt;Button ID=&quot;menuSeriesColor&quot; Color=&quot;17&quot; /&gt;&#10;    &lt;Button ID=&quot;menuSegmentColor&quot; Color=&quot;1&quot; /&gt;&#10;    &lt;Button ID=&quot;menuFontColor&quot; Color=&quot;17&quot; /&gt;&#10;  &lt;/ColorsPatternsMRU&gt;&#10;&lt;/MRU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kkRwkDcp+/igEYEdfT5g1hiCTa/4vblDh4TfRbgovM78rTILTQL0tFZUKffyzIT0PAvgszZF/RXENwUi3yLepH5WY0PybXn7gXKsk69/e2KUJ+hnzDSkuz3uU12pij9s7XZi6CKgcEKv3kQhtFrDVjpOhqNUlpSec3wbNVwdfiAgUzVYtXeffjxmUwZWBOMxzYjIxIQIP/RWIU+z4fdx3oOo3KBZGdlW9qXpcGkwnq4/28D0RsIZVF6+yKeIm+gBUBBQnYOGkfyL9377FL+lRWJLt/nXh5DkWgK0voAA8cYfvrmoIWLH36D4irAXdJHK3ciCmctitMmO4AURSXmkPoO1hdnXbH3BUV1hYSlpe9zyp3vJqFqKOJG+v1gbPk+WGhtpZH+CpfmPeOg1ofmtgAs7GaVLWsEF/o4Ua3NC1PsNO0k15+Thf0jT1BeLEbXxcDCAKV/Xy/Q4W/SWZQwK5DC9RkaPii4TZRXZuUojMCrnq8IetjFTlioMQC2AtehXd7QDZOOu4uFg/PU6yBNwCiAyHN5BLNwiq03cgubnDcwBJVNHuJhCghsnWN+qzt6ChYj+jXyUK19U6CoNG3QuwOZwiual7OwdvH2QYACkUyJf2dKWQueWkCgpS0ZNIZRJq8YUIgI7DAaaCceLYyo/XbnpciqCOOAgS1cC132WL3MpYmaEUaOhkCMtIknQoIDrLB2yEDGlCV6mJ5VHe1sCCl/4MXVaNbpELgMPVFSOjp0YIiN9BQF3VAFUF8n8K7u+fJZa2KgN0ss3qTcIPfBwV4A7kdIFgu/TJukuPfhw6PVZDbrqNQtKmIhov3YquXRI1GgJfP/NG/Eb+T1QFchC9Ctdoxb1t/p+Zz0/9RY5PUV0xY8Hhkr2ylWrBmnlRGvri6pbYgc+lcuC+TqIKl6nhF2PduldBunASG1os7uWIqD1KizUDeKL9Mz43IDYYHvmswzCOVRNs2oqJdvyDPaZ6GhHZadBBc5Q8grccB76TXN6hu2NFZrx6LneXYflbKRH+y7HPdoAa4B8XXhhyuaURmUbm+0MM90onznEn7vim882Oe++cUfA57TOv/4a0DKUKA8+RoO4cPvWSCvH5rt9y0YR8/VQRxTru/PMZjsFY8q17ZTRECykUDDWitK3+xMlTPUrv0eHW+Zv0vO1l5DyMuhlOpawCXntXZjDnSZ1NjPe2J33FjvjMsx46Wlrk3PgxutFu028Iw4PKtG/HmJ9TTE6zX2kWdvjvO7B12u/zOA8DzcOmPw+YoqeR/6O3KpU3QC53Rpo1cqLetSJ5J4J/msv2mz+05XkLjers6YqmxEGr89GSoiqQSvs+8pNt8l0avfEPIBn4eZYymX9CCwQqmMVIjkanqUavhpTyZE1tQObSD9Z7h8eQdROBfYHQCmESp+2DK0aoNrdgW2+J4WdFxDNiVCzECbCQjV0K+xOrxR4IeXXNLE6tcP06aPWSdBVCOl00T7HcjLgIm5jS/dfXxbB7s5Y7UdJikd3L5m/+o7GmhHp1ODkuRwfh8QxR4IffjLRYDNjt2XNpRQKfFXKvaISBCoyZZ8uK748n/ODnVyq4AdXqcclrQV0dmi9Xw/LpoPWPeaHWVuMYLWJy8Nyidzd+nuSRIgPh7hrWINuYtJSAcRv4j7AlRwmeVlSQvzgl0aIRHlu10G0Ng9D8tgLnPrjN8A2GcKVAr1elySEbrID4yde8u3pOxleYnAIkirm7JvXdHqm3x1rRhCTt5tAbBOQXzCCiLfNJ6lgw8QhIecl1+XzyKWmI1gVnpjA+vECyLRXTUDh9xZtS3JYGnE+lVlP3aXzMU/m+36L1ll4p3tqBlgKOPDWP3p03u56lbaYcaBpQsPPlaWpAG/ZsIYhKN/u5hQ3Vod5IjbXWjWwEPew3kvbwAQsHEC0cCclURJfW4mDPNSG8Y5WCcahr7gQb/3tt97poR06kRx0RaGLLCuhbs1tYbv55L7GEz9tobGKzC6WVxR35GBrbSiw15L7OyzH5UIlSsrZ6A3HwvRl3cXXGsRhUk3MERqckb1NC4YYISaPwXDbKBWlwr2TBlqmoDU9cDckUDW2/zNy9EEDL7pcmHU540vFkG7SEMp22GHsTyTrFT1ex21v0qI8yTOUuxWc+sigpFl1DbXKnXSGG43stmOp8di4Nz+/ULQTMlXh8xdskgcx9Voaeumx0XoD9Pt3qRyaiI1Snfty9bn5OiRLHQ2k+qDyfmv9dntWtiTv/yI1EbsUituCmUmhmNpsUJxF8l5eQI3ZguszbYraEcjxGwmhlfBNitOllOV2aQ+BckKbr/csSvPEdl+TeaitXWF4WrbWfZkvub6NFWN0AQTDE8R0Lde/GKtFCvEzjICPM3V7JSOiqr29ymncvelR1RNT11fq2qOT0M8ccyn5hyC6LDCfdxn4nh4wV+RXyVYSGoTkUWtwe7eBZeDh7pvZB2fIqtRMfxq2ZwgpO/+8nHo5xpkiK30wzqV8rrA+sD6JxYOhvsMkBC+/ZUfBF0y9CK9UQ/wLzMUeWmSdKkbiSFXfyt3M/5eJieBq99QPuE7OeKeL1t5QGg2aDnrLVS3xFDbWwxlxc90JdlzIpgseown/qa8ixxsj91Zu/UufuVNa4KxmY5B4gLP4xHgv0df2x2zL1N1atB2DurJIHaGE1oYB6XTtFv7Z255+xWnqOIh40s9Baz1zC2dwsN6gptYUc2+3xVLbQ1nnbXVKlEfgUyBtWs1gD/AfQ8do/nKkiSPOLLUI6nBroaH8O9x+ybPs6WiMY9zL5BXyLKeKfh9iA/mEw3OAXDg3L/kHU3e5P9KC3FI302JJToqjWMoD5IQAU7VxAbaKIhL89AZzeMAaWUijFecvBJqohPPwIgAUqELeE1/5ucqZxCvEi0R3zNdT+XSr5lIXvCh1liBRY2zQx2EW3UdtBraN0Dna5zZaLsQT483AmiKlf42NqbR8gAwGivYExCmwIZh2FtyIZrluzzl5r4nI7IrX/jXtesjnshUWjnHirZF3Zmd9ZEC5pE24gQpRZiihGkv4s0bKGm4IH/R305oBZmpavTASomgjISF2ABPnRoodz/Xun+kpJWd+An9cWwlj9MPYg+LybP/JECOyqA5vGfx6gFVkTlOLtf5huQClB0huQGOxofjR6AbtBee7ZFgXx6kWs91EOKft6SDMmFEiqo95JYPh7raw7TasZMDmcivWt1OzixHbBZmI+au8Yc8ANCgzcvNWjbJvoiJg8Gak6jhREC0RLyFEzxrw2qcEZuzzl0sfUjOZD/hpZn8fpUHImbYLq/pXvfagXYl1z55uPfQBb6ckwKzLkOeAHBGbAzovfpOOJbWsqTsIiDp5+3r/xiW+Irh7j+rY/0VpU59Qn7Vc4ltW/36UHUUo+WysLLhBMbTTdubsYg7w+0CgVZSQ4Z3usofxYDyYoqOEg5SnWjd2NaC2Iu/8rW7erUwRZuSX00Wdj8Jp0G7tp1vtxb7oe2NslSm89IZRuNzRtuuuKYI9rnwc8xR8L1PaKsw0ZzNvj4Ftc5V0umupPqfmwwpaX0s+HnKNf+DvRnplD/rV1NHIsXmLJpRpbnEAqYuWWJT67F8CTkJtE8CIrEluHv+E3ZaTyBHqeCE6HGhqEBUBQ2W6gUZm95ZQaIzQcCM5jG/eHkbLt+Ri8Nuqd6pkfH8pb2s3T8eU9cSY/Pddlc8sB7fe7835XsaZrDCofMRybn8Vor28hFUept0MJJIjqIHtEESFjL1fiabGQmpcWvSAVcgvB5LfPsS/r8xzYIBd9qyvWm3QfuHul+Czlv/OC5CaQ4Dsddu91LVq7Rqq2i8k4mRNdL5lQHADCU/5GolMMYGA2BbYijumzIgWr4tsApagRNUOMGSutIEJR6huRJ1esqsRPqcDH16NT/fYXchJ93a2wVNwtwGxDZ53ZKVOFTrgqDvSujiar5J3aGn4XAci7B8nH2mtBH1apiDG3Uw2O83fpEwSMMEG/jpWf9QZ35Jjc13pmmeGBwwcVMwusGyCzaBmtV6Vn018JwqBSeHcJZdI+KOEJBKIJ+eGB8ImEP8hBjgTi2XzbEoxYJ71i/W3YP/vvtguQKjfJdAl1liRY2oSUYjBjnJeLB5EeSBvX6KwC4tI0QrBDbwF5cNy/WZYHS7Fj2sHoB9QmFrF2XVHu+SJ8s0Ugodb/IMuSwqQgabKnaBBkNH2VT7s15ceM0Q1HkMdXJITi/HrZR/waesjfY/t39x4HwQ3floksuS1XXrhaWBucdub6dPtZOqcsyAHiGVlCnpriOYakwcKXpjAwnfIrDPXkTS0FHI2i7hTp1yDClAc0FvAsTXSexlwWSjZQgN4B0DhYQ0qJn/KP2h+RTB5rWJnE1S+ZbwDEraLMn4rukMHMROtUCjWXMLWAiwMRlVLgC2/xmfizTS0S7p+L5wuFwakVNvZGBc9RAeFC5GNbByI5lhkrCyXbdMX29ACw9DMf1Ugu2TqthoPB8RZw4WCV4dJOTD2Nj5Kn8KNCIG94X7tmz/vauMkZIKP/anFZ7WFCG31k3eO9OHoSIHQ/faR/L38xV1fe7CWRbC3eUiv2hHIP0zLIB5nK8/7o53oUR671eUvMlNcrmdG840PXuqf4Q/axps7OGCdKcCRiaQQ1JclMOdB1CewMBW4nhQhRcxR5igHnmwZ5+GhVelN7K6tRhY3L45qoGJXTCWRiJCeP59KrZtmdJiYDV4MkBGVlgORybOo+n90usNHDGNpYfLnoHrWhWn0zmnv49ZDl5yc8z9rgw7DxaaYSfbxu+3VMrCprR4KCfrqtHd7dmSZ3exGpZ7kkwLuzEhV+l1XlcSodhBXYYkxDmx0OQN1PEXId1Tj3En3pIs2dRmJdxXK3qCX2KOHM75+WxnQsWpXah5ulLwV7gvF17SAkVkT0UTYxtXQyIwFDcQ2bnO1F/bbgPF8xquhzUUT0rN6bFFxqGWz+pKhaN3zm6DCPEqxWYF6moZZggSKG0NrKC3gkmqf8TnVx5ethnJlgFXSqqvfsfqk0L0ui63el60Jpxtk5u/Fy00SYKxr4XyHcJ0z0idpJ5Vf0AdJsYIRZFWVFiSsXf1jKTUMfmk4XW9kNwpbWbUzPpQ47onz9RmsDd6YWNeaUCPuLlOOLtQWkKxCFQxsI6LKnp3GPiRprtdB5LBEPYo1JC0cu1D2/WY1Q8WtbG+fjkfNGyatSvGJ4f88beJ9HdbtzhMSg+E/KXbMEdovOXesQvT3QVCRZfzri/gPT7BTDu2k4A9e4ZNZBjyehagA1rhILFhUKb+t5sB0vICsVUt5tGc+q/0I9C1Ml0C2AkqzLKSVzsNMo1xhobqcqieQPUclY7WIZ2SJeNdMQva2jQCCQi9Mgh/n4ooiBG/fuDgHse3fyxX4UkZT6sQDq1GttcuvuDxLK4TOKT7YsQj/Z4PL8DB3qiHLffp3FCN2mjmXbNnQ3xiUk5sieYK80mGa0HMFl0dxz6MxZ3sSyP4fMrYPT6p2z6CX+pk7DRvGOhNUgGdUWdBRkv5b4Qw2n50QWAGSIgYCxEijcTNZA83HtpfBb+kAdkmL0VgU/yPAWVEABFZkmiKNYyifUMd9jT8YAKbeMiS0/u2dG3toKZ2ct2tL0WqQL0BH+eujCWUHQF5K7S7th6DHs/2WdSVTnkjRrgtxgH772pX2IWGxbh1uYTj1MhKD/8h7xXpe9KYavDtGR+fPWEk3xLjq0WKz9MIX+3qnyZNFey7m04aa97K0RnqXgoRy73+G96IbWnRptf+Mv1F0irjb5L04uqCgMaxEqvfMoW6P9zvQfbVsAIO6UJkmnExg84p9OnBy9Dj2ENywmGZXOH3xMmpSfJZgNQnomVGjY+xTy//i4jyWDBGRUA26ps/bk5xnpHG+XTkDODVKrqZC152f1MsSWDZnDaacxva0GSSJnMzq43R6ql2cOrIAPxwMBWREselmWWwezuS/wxiL2ijsUdBCDArDCmDrZl+YeVGHAynDggZM4e9iqXMsuth1N0WG7r/k1gnqWQs3Ug0yWGbAPlaN+iiI9Hf2IHO2fgvQyTEgaC6ZfZiyBQ+JfmKOJ0LV49Ipnhcdxi1mSolqkwWsVPnukzEw9nYhMQecVKjaoVaEQy+sz4/m3qmYM9qpc2+G8feI5eRi4Yw+Kgsofbr/JeO2jLu2aMQ3U1LG6okK/JK7z3jRtlP2xmSZAF8z6zzek5HxWxC0Y3QFIltqiKpjFIEXS2gbMfforKCU9yRQ5QldvulGOxy9fPU/jfXVympZFfnfJnmF4hNwW+/+NBFPFzEEQjekysnH42ozo/3p+apScuRD2LBvd/hYJ2SxYaw7kxZ+SaHOeiBGSDjkj2+0ko5EcV3Wq0aWy3RLZLFjMsqEweeA5Bdmr0tx8qvTO5xUDsLKlygPWYzkc8j0XecAiQ8hcmO4gJsC9LHSDm9TCBEwm3W+eF8ixWVcQygWuP1ou7TMm9N9eVVNW3kuOg6acBJOoMzpJRqLJJ21HYprKiAe6YrfHxLnF9IxPjUz4Q6TXIvt/f8GMtQwUvvbrEKrmPdJhQT6wZ7gxp3mS2yJ/QQRM+oE2+PinaxDrGtvN4HTnPg09p1xdlsJsx4xBXSxjH6l7Hjyc1OzgLkYxoP3NSXMsswCFwFl9C6DvuMe8uynGvNxDU7nHOHGX8eRkTjk8VVm7HfLsZRK9+I1PLvY9IRRkCrKhAGUom8lDQTQ69N8PTtgPkk06S+biXgtjFDOTPtJrHKDteNRHY8WF8CV5ZmuexvYQ/mRNmihna7LdWIMSH6AonLm3emSq11pX70061/gJuwOlj5fKfYLu3gI66fRbMrSIXQqexnnrbToJX5KFX3fpqc0YsY4Wcu+qTlpiL/Ah5WieFQJqxpAQ/ywn/2UPEgItyyGasPQ43LXV3zFXI3+znoOz755vxH5SUgdu+9W1k4VShXPz7eoB9RQdwSVNaMS3bq4OVuuIAv+A+mDQBc3L3c0biAlXvHriGEKqzBqB+LrVw5NMQ9fSzHG0tHlODyCHex30lbr6CU1rXb076ZzPAu3Hj+pwYoYPxHEu2MYu6BAeg0qYiDmhnnGqKvS1eZWJdDPKyx7HF3zC7QE1RDuk2JyyhVRkGq3xH0ut2TXWW9uOKISugGYcN4yz/H+wGliUn0XHqNhzfaD0cAyZ4d1vsL8Wbv98j5i/OauskIJDSEz5Fj3PYlHQ3T1PGPOxWygoaSp0y4DljEA+vuyyKaF8kYqw+xTd8Ad0XdGtrntX6x84MZFgSDmQrapvZL47r+AlyrqMsEvwCg+vCrTT2GqmXEw4/svhtrMvdyh4/e/2cScCklp4qZ1AwDkuGaqhOk+pqssEUNoHishfV/bU6pitClXaMQmuBtcR6BAhFOoVG5sT4+9/vgIes6ovYopZ26CH87RgpVr4+4LWyrr479E50xpSbLYF2s5JceLHt5fwko2WgEyZm02AxhUJzDScMw0UHO32Z3AdFrD0wPmE4eqyivuCwSpsr6HZyjs2DPELJSy89sQgvU0JU5OxqWIwH3WgHMYzDTYpfW4zCsgG+Q266CdBAY+jjOhATX2RrK0FbdR4HYxpPa3esINnlcxRdS1d/YsXWOpHJG1hWmiciQte6OEBAtPmBIup5Ewdk84L5QHFnjfPOBWKIXCpcxMzVqdbkIF8fPj2EfVCI98Ipwjw+yvgc16q2LczJ1BEFMgo8UArLv5E5PYxxiAU5/ToAQWDGMmlirRrBad2dzUdrkOlKkIlpaOOhHN9egY53Qwrsoc+BfAtxoTfoAxc5qiDdHdMdkN/Uhqzttl6Anb5VcVcCzgh0dvXWO9v9dp05viHjrjAL2KpAP3UclmzI6qABUq0Z9kdduXP+VmATsFYyV27qyEXZqYWoTukLG572fi6wnLJpUUTawD44o7GM+g5G1HWdcs2QLcr5WNudMP8ptsse20FwpIAkGUSGRztIuLCh6xYVUEnthtA0TDSzCnlDCP/J2uSNuZGSKY3UX8t+FP9hgm9nNBqygJdMfFkphIe9UHj8yVKZ9v2PGo06AG8j7nvgrpbsVxfmaSzpCwKiim/JtrB2yunyoUgTNhZpFGgj5NhnYRlxjU3MdltRJ9ZCFapvp6PFdoAjpWxJjCuosEs3bdJRCvEU77+LJDMMkTosAQiZpHghmi1zklSikbWoDafThrzOFIoeaiq6hhfEDiCCb2AAYz54czugY3buK5nhyBJP6eKDtVPK4p6z3qYMwHpUOZ0VPzDUqLu4Dtij1ZY0Y8n46udsK3bJ16HTRZwhh5oF0qrcZXY8va91vMFwoBnvXqdRYJupmp7m2+EpYAZTCY5utQsvz5ihUyRrhV8u7A46HbTHYDSwJxiNVfKRE6+i9OetfGGUR4VG58z94ixp7C8NyiXefliJ2Gm2bg7llCQIKEdDiRyYpEF2GaIPL98IcJYl+Majl0Vt2jTq/x6w4AMuIW9xc5U175VFVxgT4ycS36aY5EwARyJbgOx91Iv2vK8Zwm1ow7MVzuua0oCqIkOURom7Jlqdw7K27mQUJkZncKFmRmCoGPcxMzgOWTT6OkWTlmU/vdjlOT05x7Fdh8g27KU69d/THMGJNJfiIvi+JRTEIW5YZ482GFDVkzO0o6OnIDl1LI5DzeuTTOj+bKfwiiAoy8HLiovLuXe4+GpVf+xzb7kI5K4F0+hUoOUUyMn2U7VSS7L61JsI0TV1Watu2bI19baojKPZtjy8z6+uNkL7t9uXckKgJTbAH/G7iMzLEOg/VjfUaAxA1TwV7do9lFc4wh6/7ruJBSSJ7YQ2+Ofqde4sZhrlx/aJ9pvH/1rknG0rmbmTBo+NPhL2OVE9n705dCZK6okrHF3OdQxfpfTjbkIV4HksZJodzKerem4rJ2lkPX7i+BIP21tdYQ/8MDPaDrhigbAG4Cbty3D6R/lPPQXJE2epLZ6U98GIwG/n3AeHqwDnfX+RCntGSrzEN3a79h5ilw/WdlqjswDN5K+anZov04MeRSJFCABR3As+4NNSw7qgaOw4edFbOQ6UgEAYukkTd1xoxADJ+GF8LFBp1NKg4GMEMNeo5TxOxmGE7O5d5BgO8fJmZ8n6E+kAEQW5Sy3S3rHAlGSat7xWjdx6JkJVklQ5+TLyCwKEFe2k9ytRkvtS2qEdVNg9dPKVZ5zPjEwO7reILMgdaDQmSMbu50ptuCHiIs7eRNBuGrO4hrQf8RfhSCJZSWvSGWkezTkBlqzsiK1XWjsPVrQLbR792AnLrqo54LyFwNp8mj9bS3U1l9u6kft4bEzWF3jese2OVD6EKawgYpxNElKJAYGTQV+j5SzePzvrQHNSqHE2ALqU1jfnhYHsgYkvQR1ZavqIIXkKR9Z6TbCh5d47236mgM0H1w4u0B1kVBtnJCxxdYdL6GBxgcGs5J9hgRR+UcJy/M5LykoxWeXweVmtlKzmu4NJ2TKjtBeQeq0SiChchwZ8aRA3jbOpRpW0obZWja4UZWMbjismDZbaCmR6r0oCCqKnoxKgQF4MyiUG63UmWBtrMR1rBvAfiKcmlAL2RH5UeTKO3W11YYO/ePokJfSgze5hfkUj/hWLI9fXGfVMrmVZOAyiod2xrgWWAgCT4M58TnnWECrs0epwSGs486JRfie3QzNLa+ImaU+6gC3VeAbIkkjTvdwNZbcl2ExY6enRASDvpcqiveLZivEXprKGYJWkRtX5tsbUIWUYXUQ8SE+ToLSMwBYtzqGYmnHbvLJHOp6p1rqP/4mPhxsoSl0O5h5djz8ATspudgjmOkYZc1SvowC2nrs2yjt8/jBI2hyYoBeKfshxNfvaRt9r3xcOdZ9BxYAjZNolN4rIK/7zrM+uKkr7NfSpWzd2uTQJ4bu0ZVICFb1Wul413NZYD030+J2axAK3EdZrHvYTcTPSiOTDXDcVQi2XpJKXE6YrN3FRohyx7h15CfD3G3EKd0wHkFWiUCbwVQ/uNm2JHgei9w2zj2GSg1OkHYeovyGywSPT0REpGeWp4kLMGN3hwVrGEGRAuUuRK3Tw5gv/Hq7rEK+TEhl1ln7+GtTJ+YmwBi+7oOrQ7hS64EXJEMEakWpnpxxBPWdpPic2O2B4gJkxNAen9vvfYGi9EtZ5gVjh/VTwKfBgCRcrBCCsAlyBNjAuOC+H65w2bXs++6KDRVElWc8lI89CKPR1lNAJGMrvQ2HnP/w+ft+7K4KnXyGIYtGf9nfChEWgy8E0PVCSILS3VozJKdEAQOTdvB2ffjVF0OqkBpMcNCOBmdTfC9RhIDywp03bHkbQ4VH+fQKFG1kM3NDTNvxmOYXF22U6VuKfr6GkyMlZ+nQNK4hi+dFmxR2zvTGO4aqDH4oKzcsbgBZNiOVRLTibGMiZgL5lhiRtJrhaA8xKj225xRkC7ubHBcrwkT3CkpUlq+I5yTJGVi/VeqRn1YMTOwKrNAMSeSBakpZJCQ97N+uBPF+zWL/du2/3gMVsTPtgSrmcoBmbu4rKVVwfsGTTakA76aTMdaIZhjI2B7q4B5ZUO8vGpDp3Yjif/E1S8evcRRAD7TSx/k5gCzy4ES8uX/d/tE3HWUZ3S/1rjhujLrgXdoUrjIqxARj00WsrqGw/taBjRk364E/QInTsuUy1s3gqasiL9QMK0TKXqfmFn2yxr3IPEs20bzlzRB21Q84SbLqctpjAE1a5oGTDJItRHdsq/N5n9L5oSlnEsIpd2dl3OhLPfdKK6PFtuYaTAaNhTHVBfkAj6dEDuMIYTnjsGrWkmzzqXfvAN8FQYT+vDxgmdlQPfaUkrkcMSYvCfGR5DyP9FfI1a7alJgFNav+N5ME3wsGD7zaxp8tLsyoeIlss2wzOPQM+vNCaTHdzpQRj0OjbjP/KCQXY7JHp4hsSoLGUqs0rRaUeNJlg61Pvd5jP7r53CORgAYkimEfV3cPf7cA8mTTsrDkrstMG/emUgPduJlaTtqx1GKNbe11KygxhV3AEwDl3OqtOUGPw8TEDURnKtzhFyIYJdmqfQ7lVDHdhs0csjqr50XmkRy/2SU8sRiEW5MbmBHiuc/fUpJuHAxMnoswFhLlENyNQwTxYJUzAKPhLEebPwgGZ61Uoj0SADgWvceY3L8o2tIov7hzsxJA6kGC7sYeB3aCsWoSstUKAEJh87V2ktlWRRscD2GzGnPC3PUv3JWvDwYIN+JHe7RJRrxcGY7yTPNDfKt6yCmZzKZmB0NYb1HHaTWdQLYS72FRaAmQlQkBrSk4AV4e0/CyhThBLJb9nj01VjlYeu9MLaMoMRv9PQOkOPUGVmtEI/0rcjryId3KUuubLvlWhx4DPH/qLtH27IYOa6PioK7NWaC3hNtFKcb8qOZneC6hsed7mTlVd5V46OpGCNz5R3AxheSMCbWZdcjD8TGz6kLpnOUGqL0Frd0ZfNdtIbUljGXWWL3Cl0/wvd0Lr4ba+tPPwCmWAhj2a/7wU8Gmz46zOOvENhaPmNImcZroanuw6rPpHTIsp7si6V3iFltm2i2cSChkqnSXYPFzMcOnbKrhJDvePNpxQzOel+FUX3gHlXv3NNugx7VkWqikwJ304U6roDnS6BIe2ekxx7y5sywb9RDrBCcNPgcd61aqGXQCrB5gb/mi6CCr9T3+A7s6LIYGFbTHQ0TiENsYdGCDT6JAhD9S/i/NLW4sZCDQ7rdF60vTnM4pKg/taLRAVLwLhn2yO+64xsPiqdiiuSxZHupQx054CcT4oXgPRsjdnccNQ/Sgn/c2ek76G+38tWAdc9mh3dMyK5XtoXzPgtnFJOe3q2pbl209H2z5IhOhb03drJWpY8j1kGhmVNfDtvjSuwcWYjojxrKal+PzFVeMp3XHvxiEafx9ZKrPll/eSU4sZlHXIxjmaDHdXyVPn6zlJaDZuOo06Qt5vkTOdrCcDlQRGvxbDAh7lYpRviJG0we1xrSsmYFI4kIaxbOw00B7KwtvuYS62WZSzI1GQK4ZbJu+rFzm5JhhhL9ED/kjt7dpjHmbYt3pZif7jfPjG3Nw+bnGYrgoa18PHEdu0kaxeR0MUeYMzCPUZqky3Ov0KztiloaXXal57OpIPF32e433ImXPni+u31Ik8cQRwmS/bwo4C8QXIrU7g1BkIyzl+N2cgg+Pu9tEXgOvbm3c3gezZG/JQia9Vduw/un30ilOEjHRH5eYP9CnivCD4CgXFymFKaG/oxoqhKx/uT9uVPis41MX8mgu1poYuBW4yfaGyW0DTxrsenZfVT0c0SGO7RAGpnJJLSE0syc4zaDSgUsUKlgLR1VDpMGxQkIlDpQRaP9aUUJqnln1jP5bmQMsme3bZ8h0TAdSpb7HZEm4pc/LV68vdniX8RC+s2zeGfFP4qrLQ4pLYwrFiIdEdCwgmeaQBgAwQCJi+BpB1bQe4owT5218f0tGLGp15Pwoou8HzmrH/zHqiXNSGsrc7lBKEy7b/sOwlqEawc6csSTU2V5kEit03IwJpZMpqzWfRvpSATggZKSN5HqcfRKyK6gslIiF7IO9UAWA7tnj0atFL8kaYwMLuzQAS+cAqDn5e/rbEKHqYSyF+tLHBm5B2dK8eoJmI9epPgLp5T2iVCusPaSbzBvAfZOyHi/WWH58mqfhQSYIdChKK9ezFhGljPuC9lRyASeRC4HJRhSbP8DgMry4nYdw+YgBxACI2LNOCWvb6EBvtd3fEQ/W/jaSv6rTlKAQYbk7H3CfWABqRLmFhZAxmutzPdDrTKCIjPh46mlL9jKDcPwuzP2Q6lIacYV//iKCp6MOwXVDkEq+B08HjrylgpeLWQGYgIf2avToY6M62fnDWSA7HGS8QhchvvvrWZ5Zmo8akGRaqluujG4LveiEY6kp1ITyLULZNNOvBJ7Ppql28MY6oSR6y+28cV6/+8N1Gi8GplgPCWlT4j/Oe8Vbvbfct2ceiaLFBe7RctN1pj1GBKGwszY93Vb9AuQWGpk2uiIQfkBMqoYb5pwBSQ7zJezAekSvknSgaNpb5TrGUzWZthIaVv1pszgyId1dPV2x2cWYx/7zCCRdWp6EybVdqMdCWfReCPEUBzkh/U/rLwA9j6JI3iw70B251IvpNTkWQiWQAE5vvWATa/RoRESKChv86fm4K84FMxqa9O+sMA710Jq8AskRam9KaXQE+UVpatTDtrRgtKCT2O9SFk/wZi+/y8GnFewnv+wx7cr9yD2KzAMAE/hAh/2tGPV7T6Dydd9gal9qT/XigtY3jad+xlcOPubJ/oyM/LkN9oJ51rwyo9qHtseb4xcDNA8FfmMI+LvJ+hrk1H5NiHdQEWzqI0w4Onc34DRYA3qQVsTz4fSiuPGCGdkyXtrrNWd+kgh0/CR8LlNhbvK6QL6meJCNfqH/tV/oNhVzXO67FSiE+/r+SBWVGqW/Ks3DQAxJq6D7k0BKpIG1D+Tbp0F1MV8dixZFyRAfZRwSC8N3qqS7/nUxznXg9g0zu+rmwxezK5yvGw/hmSHy2tGxKOR2P7kZXJDKd9ZlMpypk24oUgITqh73x5oya9z8cm32Pcp/aPTDy18kOAWkFE2T4ze92Tptu4VnPcm3HB/dNgSyEqwH7Zvo3hAz/y1incTUHwo2njuvTMrrKnUqkWwHTcU7nXNDVDBf1Te/GeeqSNMlOlfXsxQn3BxZO5HfBkA3KzBW/QCYNYMlYhx3pTUdcUg/n3AOOGT9m09OoyQBvAXkL88b4FneJMzfXe3Cw8ftUXCC/ZTRpsZIcYEIOCXyBW/VebDWXh0zlUC3Q9jKliGt9w17fFvTvEp5vxNW6OmWYrM4mb/qIfllqZWXSR2Rf/NaMiSLWVRATqN8T8Ip8VuMcqPjJAVv0Meru7ji1lvn2SQ6WyQ/2S3/MQgRvaR9xUTy1T5PS22rPe3xkUwLWrbPIwRmTm5gAYkUjsKc1ZxrPyokSd47LX/SAV39zr7jFqcBvxW/M8BkxLCQFfWhDWWXXJxfn//4H/F3xiBC9nqtlhqOiNmIcD1MWl1Zpg7AlGY8E8rbjG9a/UOrD03MTe3Ldaz7AUGiqKUpRLqxRNtQJfzw6x/axGZ2LtWmJA36ULNMWAiEgwuI/nFDmezmiMRvWqoBmzNGkYWhkKTs2smcmCfi4iShE9EKyt4zjQwQXvHm4qCR4AqNWM0kjKc8rr3LNz9riHW7kitCFyJxOuSsduClIfWO0FJBnTLCk9OLnpU0q98ffzsTentkqMVWb2gpXulNpCTYbPSNNbod9h71vFHJ4erWW2UR7FEy/4W3nhYkfGr1+u9CIiRBbss/V3FEbGDvCrEIH0HDGjuT7YJkblKRh81cMQ8HZODKmdN+5j0u3uzcCPGr/B5NbLmrh7cSXAeNplWblY7mWJME9PXF+kdz0nrsX6faPA+P8ZQOksqBp5CMXTTBf80sfJaK7uM+Sd/7O1FUcUK9QOA3qQL4bnVh3pB8XUjyq3q9Xx4alQjJbrezQvSX/hQ/EeTVbSBlHNCuaVU2+iOu4rtCyRMZT2FLvEAh6zMS8FURQiC6wqXG4sIY433VnDD8Gf+jf2Nn1MYb3fKAC4q4fc5TKHVpWJgcQJXHyl5ZbnivVgwI5jvSekwKlo2xPe03BA1qUF4fM57YfabWCfr0bx8hODSGj/TJeH9P4MnpoL8hZA5faHh9ipZ2HrjrcB0VjTPQ8hPGRor2gAbcNqOATZ8O0pyytQ0SBNSVNM7EkOU7NbZirLvoNbSGH4YmoWLHk4w4QWskvMy/VYcLiVtkxiej+xt7dDXBzCP6mwSBwgYvHKRTESMmCCY7up8VJl+znpj2PWdhg8zWOFoeMK3dS7bSx/SziNKGvmF1qLqm98p8LA5GWeo7RaYZ8SxpS+4tvoNRGJGSyGALUzJM0AkQZlvPgQ70piN47VIlLPecpnNeDn5EPKgP6xW7Twhlcq/h5QJIi7Jw2Xz5fCMbnuiUYYUzlj6Vrw6uCrC70tI4J8nUyAqoVwPduOlhboy37H3ca5NjXCBqWphU5yds9MTCKZLaPlhSwBCjp3FaDw4M4dsobbm6miZ2h8R1lg645qZeDVxJCCJhnJN6Xc6QYHnnp85lrR2KqOICsjuK87Qrs08DrpDIX2LnlQhF33K1VPOKuq2kVtT8fHC6QeEH4bCluP4q/Xaz8t5aiIoR7fHjE+FCc24LAZCil+u1GhkNkxeWjNr1rpiMZmll9FRLFHpbEWRJxG6N4OXD2EaCGYa/a+yxwLR9N8rvNzTJJl9GHay/3tGhdZxn1GBvqRaVrz7hz22QUv/vbKHmV0mva5dPwB/mb36DdEo0Pz79LsRwuxJktsgDbaOIxvdAaoqKZu2hOq8FO5trzU4FNMXPtaTrVw24BTjqPMNIUaGs6H2M42leRxqDHI9EKEE3oHHU4WGYTDgstu/kGOoeo7rK6Bg/tOzQi6vYgTr1+NgAv3JS5rcgr2/dWfejtkpkMOc3nh6JCZ2knvS8PXZkl2RZr4+p8whBH1a+MhvI+JyiErL54zcM7Rf+DdLe34j9WJEDRx9+O0GXQ9DZD9yRogkgx9hdFxLLmrt5Qj6hrJVTsyBL+GqarhSIOZEqGkf0zvqFMPtRlhTV7yYEsxg3eBZ367E6Kf7hAzLZ+J6GNozHFHGOsN8K217fU7cEXgapP50k3ND/jxsxqhriAstV9ivdzH8q++E8QhvVm6DaFoDiz7+lDbADfCrlSUyAcPPquJ/H2GKAF3iYxUUfkvyrmBACpiRe6UAo3GzOlvLxUqnQUxRuocL4haZSr3bK9CTep0ouai/vK2Vp2ZlNVaebN7vJQyVVnxpw2SfHLVwDmZXUZ7r4bKcDx/9A6S1N2naKdKoG0tkV01Om0lgn+fB0ayQyihZ4q2Tpcl0/Yile1DUokWOJnWf79vfd8YYERPtkwPxKlJchhofZ4BLUqA6I58T60nzRcPLPy0lV7bDkPJXXQAQj0FMiYRoR84o6VD0ul0iKENYjcXL17fscHDWrNDI2AIk6cZIqoYce+MyJ9Tvoy3WNz6eXZ38c6iMpkyUQkQQGV+0lwwoNQCtbs7K1NAAIO+fPK/c1ExZrFC1rKTltBrMDkuH3XH9LgJs2LgZPqNPMk0fBfQYHgNbzSCPrKv4zNML6/E5IRAdY8kUjgUWGS9VFclrcNhTj43p1PjC2ZXY8wi4GWxvwMT3ZjpHvGMC2Y14cpKSF0pFlFhhcTuLOcVPKLPZ1exLoKyB6emO0yssNzNqgYJWLXDY/sMqazg2pEcF2TxBXBhPS6ASLi19yF+Y3KwMP7TUy+EHkKFr68XmbeYXxfTZx+f78tdK0PMkcZtZRcPYNjeTMvs3cH1Uv9ex+p8Fu6y+9/p1D6CuijLxgt3Nv2JhXoriwji/Ai4CsHguJLj0q5aOHPhXgFAnQUUQo8hCo4oSrxQl0IzPR+oVYJpbh6Yiqt2iqo9BlNhcsOEYw1WX/dczG80oovGSGW0oiR7AbJnxvaVnQ4yzU2aQgShYTFLNWEUdwLnSKeDIbND9HH1/TXvG2ChpkDJqsmP9Z01aDILce3N2Vx98Ty+CSlY1S3QSA75IY0lcDxzVmZqp2a3ztPS0JFydsN/Nhbf7BfnlIkp9sC4nYW0WjllCGMdt4vJwY8klXryikmKDelXx3KQdpMnuzIAw56VavHmjgpqkWsVEXzOWmJXJD1jlZspJOst/O6JlPbzGZ+ibSDCfOux5qunlGTKpuq0pXOYPXaPZ3VfRDrNNkLZdVwq6EpexuGjLxpALDw9Ug6U1EFby9dwoTZzsPdrsphNVkCkMozSaQ0Nxm6d0Bol6xvo4yTr+WWqQmNoJcXcwvZ5KwLUeT8Ze9IqXZX7rdUmE9ZNdHoXXJP7oR8GSR9K3FjxVP+O/VfY98BeNYBAmMkRNHo21EzJujMjrZxaYLPs5d+XKkXqbcPCCDD2vACeyKJeajkMTFHebzdFLNOR7/aSqbP25n8AcpR3UfqQdcczSq//RD2oYRgKh9qHVFYSTTRL6Vn/TdquNj2E4Gfhk8VXwGlN20o23BfAjAdgWnuKKnV0k5RvSF9uTeS3JqY+haYCEr3oAP0BnDTmOk5IsXlOyEBgEiqL10/3Wf/TITO0fl5pfuwtGnCaY3SK65+nGCYhCphYRmMyeIynd+sLD9qn3nUgv8vPYhQgvKpEmc/fxmxotEhbe8HGC3dLivX+++inQomCUZMBnRlRDOEW0EfO/y4sf/FPBv7k3Qoedhl/biyLFkwxUTdYHdMmshdswEaRbmiRQTxZzXS4GKWygh2I82mPQcqPKMOM5nQ7FYmBf2apqVww0Kqu0i087CGYzv5uiHFR2qKE8cnDF0rK/7AkI/OYBc5WyTnnzzdg9YRw92SncnrTkM6mkjEkKRuMDL1S2i+3dqen34cPUcCnrPKJP4f82duPMDjITLI0jRnh++tRRiavGr75lxzfHDmJEUKSbDiwdEx9YO2AULuYIj8pzr9MR4vh+B1/S2Nlq22CWZey+7AxVEKO6+iY/9qUQYOmHAk+9oOdI3rH4ecEIJM6T9hp7/gkni0sAwHTO1+gIA/ipUJNWYlAont9DSPWzujILMzyCvU/lWr+06dXKrO4mVdtx7Zwli/oA2LU8P9+fHTsjBW2dRyNWLWEeJwQQ7FcwhjCRQReXnljAoblo3wpigPqVNisiCfUnoh1LvZ405cwlEuqb4rw2D7MlXFBT8Gu68JU1lZXgl5Yt24QE2PbKX9g6niOmFAXAdUsIUr0+nDPquyLSJuioVIV5/Kf5VT7w8Kf1P48JGyzBY/HJswYmOqP83xaoz/n/uydDmJuA+ADV6hDMh2rojKQ5ovlg4YFdsNP3vs/8iS3168DgEeTW9nGpP34JgYF/9dXuu5+WrvHxXn5D07Vfq5IkMDHk9qyWa1Qo6vMZM/ugDXK7AsWqFFT5zH27eFuqFJEIFWIUCIig0iprSwah/aB8nyJNXOCvHpsX/yHX98jSXXceInxwS1lXGOXW72lgIlOvXrJNfaEo0udBdANLdF1zmEgDlQZ0ZM9n9laVmNPK1I2rZieKlOElOu4pMRq1KSvSu8LJrE0JUWOkl6X481pb0RPI66lCrO7a0Tl9uYsJAV86psBEMshzr2cMeDgVCqXkVIKlngLT4/TZkYMTkykb3fNCsR0VEXzWTtOmJqEmDE7xnCgpZNVGhme1+h5Huh31SBFAUeooYrZIZLFeYvZhdXcXcWPUfUWJzKiPVKA21bN2hGM6LtwRaVyPlQWFJB+u+5Ubko/7R/ItfK9Xk6BODetoj5PTEHIP182ZlQQxekoQ3FrXoQvO9pANQYBVScsV5Wod5ozR/VsPDpTLyrxE5sgcXNg7Rls7lqvGM2zVsoOfzrNaTY1Dmx5l0IahnzI1epF/wIh1qM9uvPzXIq7bcZ91RXAMojaWd0QvYRZgpRr6nSdUvpMAtRQQMED6BZE+l/tAALso5dkeWYDg+n6r1bs+66Pf9O/4fObynDPxH1u84Wh0D5XIAb9xSqEQWp23Wlvweogof0XCJrEvCiLIFmcI3bK9Bi26/0x124NzraLwpivomFczcN9I3RIA5+4ryE/gYMm9IqpVQ62pFrPJKgRWRxFtGSq07/l/whUQ4CYTRgVSjlpcUoWm+2n6fJLSd3IR1dkgN4TfslHsZZcc7dExOiCgXIVluLbvWHZRPHjvuRNdNuu3DkduDSWcTRfiaHeUcBpt1lEQQ0FvMBD9FO4OL6U1uDqj8n3PhOj3MuuMxvPPJpfR5b0LMk6gKFVfAqDp7o5t//P08LkxWZxZfDToEUIbL+o1AV+gYn0ylYRYOFNmo6RNEyH03dW75p5jRSHkVa7/j4vJ7PYQ1W3CdcOO0OR7sl+TTCeNHlTh+mRG+Sq3jkJYa1iJnWAUFnY3Sr/xHYICcE1LWMwkAl5EBeryny0mK5jxE3/9jOIzOClTIotx5QYlV1yeQzfB1yqPOOS+MFxrpqBhHs4GMVwqC+9dONzUJTWkrW/ZJJB8xLiguzGgdSe+9VvIeQiwLF/hEkMu5pkkc36g16ibwfsf4/JstOMOuJ6w6dJtzaOhCwmkfZnoU/8oYE5x80UcEEaR6zPn74rJTDKXQgN3WSMxsIu+WHS26RgbIyNEHGZmsLO5iHt/c/dZr9G0yICGIZhWlvcuLHCjgM6VU3bGmUZd9RpI2S9BB6RvugH4N4gvgF5JV+s8XQqj6QIVSYz4t9Lvn0QDycFmzfU07e/DS/AAir54cu3B24mziFjDR3PhoiCk/jo1nvdx8p+ZqFbQv11lPM12sk9NBivfDo3DLA4UhrpxukHaKBfgsn7VPLrAJseE6OBz+6bz0Z4wMMacgGSel9Q+iBJaqEF747oT/KuSCifD4zMswjUqswqkOaobX1lFZ+MwNh9qCXVwpaFvQwE5oj/M6eUcrIARr7khkWLN6tbBjV9X/LSX/xrVLCxM4x0rbSM0R6qVRpryjxbAFk8mCUYm09BgkzQXKLHu4P0TkSu3kqml0egQ7cDLtl4kitDTMpCy+rDSmkeHdvMp6A05IPNsdyQsKTwQVwhy7WfBVh+zugna2u7HdNclYpPVWWzTEpP2/Mgm8CBanKE4J6HMgSLLgUFvEQBZdo2F/3bcy0aMNH5m/SHDVo3RcHc4M0rKLE9l6UWN0xQSdajA16TSPGLQPMKjlJGwFJXEsWZ07PT/hDoBI9iK5vbqfup5KbovXzpWBPmEshqgPLJruRKc0UTDbPIXLA1TMeLsRVtmcVpEW6pelEV3TzqgdLcE5PHa7tBBxawM+hDmJNoCLGzvOMyrY1Wv8Mdc9/koMdOY9QHlnANKF1uuu/D0Qi3I0+FZw0AxGo/ap3GLw400CEST0V/Xkidf1wvx6sIdU7Fdo3+c9ETkCY3JT8V/xtBKTMkUcALst/180o/b4x1NyCg4PVzGmcBJA+kb1raQFHoy/FOuZnJzFjRcEryualgoGdeWXzp4chB1aPwo4OHYlWqt5yCMnx1fn78WUgov/ubWIrE4jj/FRPrV9aUlOWuGzG7t/e8ogtIZB/0DpBJpb4vP4PQ0wW4crbXt4BszYaiEKV9sy9cyqXTY3Bma7NG6je8ljvFo1XMF5accBuXVA/ht7Rqtz5Ni3rOco1phHe/Elq3qWmnnS9iya7ualFc6aUoNM1bAI6FFg7De2607Bgy7T7vM0et/rH9UKzUtRtUNzpQjm3VX5Q9woTovkZVPtGP+BlTUdMniLD9T6mzyfBcfg5L4LYqYoqdGBIRAioK82SRau8lM9FpqS1ooOkpTC5wH1NMe9N6MyQqDfBV/kqLIzshPGxc/ef0V3SnFezRDpq6kxLo29QpiybtbeM6lPyrx0HwRkdy0g4tLOw7TM6aFQPR7iRE+K12Zm257fV4R0ZTjzMu5foVLSsNAxKbmBSwJHo8NQk0dD8K/gp5lCGXGIPgGPMHL+Bee0VB4xYjn71+9EwcLDMjEbTXPemvyInlnBbgJwxizJwd1jbRHVfKgdilUoiAhlFi2f6C1PaCssvJrS+QtDf5z1xR5upApiS2G5DtYok/W30qOc7yGofoF2zgjQV5BYXuh4J0lKLmgxS+KaS4pfQJVQ/LBrmyWZtxUlmsDbNen9OaxQSv/iePAzPPo7b7isIJOYuhxVcUypU5lW1FGQA0VbrdKVfBdiWGvte9WqyOMgEkDn+BARLu5nl0hBnWpZVzGpNdUMSnKsqT8F5nJiMm8g3pA8OOG52W2lUIILtXhMde6bSOSHPu9Q15/d9E5EDRTfLCztoDgYovc5FVs0BqCWC/NedyfAoO63qA7Uh1CpAOnP0zfni07AmhOQWF007PxGk9SkGC2T8XbOyXn9OnyeOzp1hkeFRWmpDZ/iZIZaUXTUPZEk9gZmdgbdrMqmcDhQhX+R6ttNkvpE+Se5EfrcXimSYTF5jWimF9Aeb2gVA8KoMnj7S881vrc08/rreIZEkvK0K54LI3l+5CGL1IiLJ9QOEbsFcNqiOrEytWZU7ENQfV0j5KRBGH7y3ZHHNjgG+UHTClphj8onsW92Iyftx1qoseXa0wDbtvWrIxCOvVvNfMlr6wIVbXQM3R6n2X1Ga2r09NtB27Em2h9zFxIF3ePY4Va+BhbfpIDqjE+DCcTOQXUKaS9UrNLNnvPMJKBbHSiD1bHkvXbl5cwH6/hYeVaGWjxdq8ynFEWlhUltnzg249deZdrL1PE2UAC16MqMCpVCQYNoRTlOoMIuNHu2Og0dANucazuTEmFrGpDBSUTtrbl/Jvxxc5S/DlLbPuSgRMlGxZ5o5c3jI/Z5JVUVE7Z10viYQtKBXfMx/GMe7gfM2a1gKESd327Eip745wC7JddLZjMRPddF0OexI/lTcLF+QxkSBqBm9xgCeoA3NoeBgazgQMBGhzvoON3Ds3MXJdftCpnJEiBhu8t+0FvqcxA2QwIuBx8gMYItcOfHbcN0k/ikSn6wOLICkZPKppN+sTbOeY4JF4VPkcSXobwh0ggZ8vwfWPI8HLR3gb3APSoGUPYmMRXDLViE30Ga/qTiDti/ijMG1JL812N0aWfnpVwLdr62zfU9DjLyy1GzBuTh+wZtdph+QFRcu47Qu85AxPIQX/EjAgxJL+0ehgfKpWefmvGZmq1qE5W59Yk0RdUaiLifZQWDqeqpipu7ub2s4HQhctXs+HNcMQKDPFIT7HlO3gBZ3xdhvkivsjWJeBZoVeaadqNdVWsJ52zK2NRVDvVAw/WIDGQ3W67TjZI1xPQpasyWxFni7LWo2tXRMY9EQ5untPIwlzpHWLmNxXuV2D2uDiIADCeVsKsnBNjTNA1u8VVuZ5GavmF1EA9MZKHyBFLJqKJtJAzcoh4SpNzbADTVWn2FmLmvCxnWHO4L1euI3WQD34HC8R8QA8B9uyOwWkcU8wQDqemiM4rkWjWm28DRNIgDJqdXQ/cpAZVrpT/NctiqgefyVb7H6hIKzXIsJJNGmq0CJQeyOfU1drWKoWvB90i0frC8l73h/hXKE3hD8ypUa3Ytp6DKx5LA4+tP0Hk4KyOWTxdI9c3rQgZ+D2bFb48L5qnuEcorOAhqUpNQ8RoAV62Cn6aa6fMZxXd8Aog/N7T4LDRfpK9w+felgDiw2zbUM3IuxdV1lNxhRiV3/yRYJD1KAM2xO0vW48e0mtv6mZne6pV/fIdY9WXEhKLa+mlSq7107gh6praBZYhLTXMYHHH6fS7JJfNcS7NbZMjoMUrxFalKRcZe0kOJDlTtVwjYGDMRTR9+DcJVebXfh5Rq7mvmGdq8X6/z5VWBHlR9Ml6bv0sjZEMmXwRjwhaPiwqJge+We1KgyVqG7KJo87RJuTK3fbpFLAPs9ESPhYfS7pqoxfRElOKTzfG/Bs4KGIvu9DQzrnSAyKg8T9S0Oj9OXH/xP4hD+ueTenYTzZEldYvN1xX7/sJc7ZvNHjpovt4EeK7qAwuxfOrrUVtkFPGdVm9+EME/8C5VQ+uF2CUONvtvk+3+ZevkCTvh5D8Cz1ivoDVRaiEgptUa04O1AbzU/+mQaNjMp6wMGcBglR59gaVTjAwkgtrOwNuCNH/97UkTr1nc24OT2TG99Xd9bd5YQVEQvP5h6gJlPMSsfaaqIxglUWE/9RXIu2JbNVDQ+iUwJM+jrfO0f4k0EPEeaE8V1ffaCWzY9TP4Mfbyz1LFz9HSCy7G15POwA3wldbGCiKYHvs8V8e91Y6QYYApbkowehqzSIwgOb4xe0yD5tjj4zlsvUuZqTC7hUFT8TufGwXNK+R9s+QbTlpVbdne7TISbz/TfDJRMfZ72K6SfDuhsXH6hQujZpFXmGwfbLEqoYOqSbg9ZxbRxJ2dOAbIw47gzhftcXkx/VLs7sXcGoxFRGDzG9rK/GURDM0Yk6RgZN1I0CzzY36GiB31rK+d2o1TQ/IUB5b3qpK1qvrk9Hb+zq4k6BluMZ9WKTxD7nd/SXtgH2mubqLT1/WqyuizhPBghmJVQ8WZhZ9pD6+PLGSORwc2hpgWNdVhP4q0URn6qtgU+TOIAQzyTNb1ThkGInofD46hOKPsdNm3lg5YMZVgtldjl/YlY2QB8zBaeq/YfHdrT3IIaesoK9cq8Qevhn/UWZ78TbEDqPoweBnnUXW4UKPH7PIsys7WmNR+cdXsFCpdwZ7NuZpVFWJMpl41bXPoCVmcnPueGzjQYL2MKfO082vvS2vT9u9uBisyUMfHm+ThNqY8F77htps26BOnklZMAGzEpZ4Y0C+5TLkB+/ZAQ83f30MmKxnFuKduYqL07TLUp/pXVJ7hgI0wkbwQFIAUoWCJdpJT4cy76LDijc4JjUobuE9HZGf3XNYZQAybMdAloc/RfMdO6wVSv5BfGi4EmEhLDRXwha2Zg1RoRa6ZjoIExkEq0bT6qOW6eBW2QUEpU+hdpcm0YiaQQ5VDErqqiXgbD+7CSFrl6FVV4WX/+afkjcXHnWnGtWNar1JCX+uaCY3RPGMHpQwmFidG3zXcrhGS2rNv7O/APcCdwI0gwCBZ2bA7bMyXn9Bh5uiDRGE59V/IJPuLZh9GjgPwfsE0xXXJSsGYWy/luE4R6aRhaFXfPAFMMgZ5AuvC46e0YC6pXF8xeD7Wgz9AtMo3vM/3YslfBvSDPcBb7v0+zraX8M3szouXLf4joViW0vpWkvlf8O4SyPZUmgvkpX7YzSl9A4dwWadZJ0gFuwvE/oJX9QcuTQxyq0A/oJWN9coWBAy50uFQFoI2UQ9XEw6BzLc6/QcdlkHPvubEE7+QGKnBfMa7L7KBSNeZvAM5N/3kQcjHwsufEppq58TtrbLANyyKcBq4K805HU9Detber/H1mgSIAnxYkIs2uJ8ieGiR5Qw0+WW/pg5bV++RoNmA1J6FOymL4W+fry9J7oMj8c4L1Hr5mq1452RTeyeM5cEv4plMpo2zpAxrElPcegQfRfqVTWrRL1PnztSmj9p/YGQWtlvFFVes6nwtBPLji8tr94w9pQlY2ou6wD+njevOXSt40I7I8l1iTWxIzMGpYqJqviRbHKHxDzJB3wYvDfvZlVHnDjpqFOeJQytjc3ZGPkBRcQtgJw4QRvrhXnRJnGGzd2QZteW7Cvlz+Xpjt02/h3ZDOB7ZAt2jaRHrPyEr1b4J65eRVBglA+b8ha+nkr+tu4sZWJI1h1XKN3e0w36RzooNI54V7cZsr2K+4XANlvRFPZ/ICk8byTu+tH75zvG5ehfIyJhN1ywoq2mssqPn0PTyQ25lzHkiTB+xG3Sv4eVnDuXEhZtuVFsJwNreINYHp6sUACYgrGStyDER/HEaYeZb/94yJBu1VCCZy9JuGiYR9Q8wTgA6wgW5gnivznEuYPY7Zv8BURTQiWb1GKTk8caq3a7lUHiVngmQIhn7nfclTDQFb/2qvK7l8Z4+P/DEFDUA2qUN3ids/L5lnWNsSxIuCduVqfHlsF3yDfN+wwpPKFSUfm34bjlaBmrxQwfmSSnG0CwdC3ccBzdjF5fKMeRdIAkqwx0YYc9XUhmrZsAckAt1wO5IotjpjgjW0ltQ5ePessfvexs8FvTfkmJwwYfpV6y6PBQW6UnASzwmlD4JWOouDf44ykanWkFAf3G3Z1nl8WPURWx2a0a3aTepDKb/tkbCDWi1LoP8sruiDfPT2Guqyy1oyhZzb0u+glDqJhhc7XzNN5GauGsnVUjK0trwBbd6krmhrf6ZwgwG+C3wSINaPNdZegVcBinF4dL7cICtrsc+wFH0WxBf/gQkhPnd2kuZ3m5F1Il/gWCOW41snEC0q78gk+29C9rHr6DrEHderKswUJlD9zdI21cjmaFGR7i6I+0gyXO29dgDpCw3sgX0zMzbwGiBNAJCMXcyXGpYfrLjH+1CyFXSdhXJBo963cziqGS2QPRFtpo/G4ddubOffH7ZAR90IPOiT2OeQiLYDGo0VYbvWdGphk976dM914is7h7aFFHZkeMyzIQk2Mx3/w1BlunEh9Uc5UxgwXzpRl2UG+wZlvcjDCQOWoWe29Eo+Ii9KOsnpFCtJ5h5lvcreFRHXyE1+uAKwiMDua0cdTFaRf4Novv2BjwGVhTDxiIUVBz1h5oI6Oz/v+gg69cxHkTKsWryrazGP7SqiOfAUqdzXNJUS43llSXXqxwyuFvTEGBKBiXxsNZ3Q81FNnnSC/oxIQ1Nj2JEa7nnJXfe9zV3sjl47xWwptl1AuSReZyPgt5FmN/g7qUairKBwEFMBU2gu91ZubAfA/+uQb7lYMKlSX88U/uozwguu2gj6bKcpXR0KGSjfbT8QFieTkir61Ojj6UW9/AbbM5xJi8c0new+XgY6N4pWi37ZHbWsQKh4mDrxKmCcdoj+V4H3V2LYLIry+16zf0jClFwHrDogNwuvtajs7QPhxz4eGHeGjO9CoPU3QDPnUMsUDcorvORGC+BVYCGqak6kGVmkxDN1Woaevmuwy3DfSEeu8ZEwyAv7VfBpcx+lgp2QvIcUD6b6Pkes8LTAfVvkz8dQT3Ybsb5xg0oo/0h5CjhfaFEM5grZTv2Q7rc8FSlMYMul7BVhnfXbPuXBX5N8UKpcq2zK9xHyIi18InMYs+xBoKH5Njc0N77daqsRqq0WmjgPhVPdB53StcNZPcq6Bm/Sm150r9eWD5pGWkCBf2PBCddWqhOaeEmb03FaojsbWSjozhoSymoDDC1psOIAtPSwxFhfno8piwd1eCMx6wn5KdxsvXXDkvV/yd89Tnq75HY3nWuPnGu/uY9jnCXsm/b5bKzKSxSD/Aql4aYAOLLUe9ln0QxaX1URPWdqn5rOmvxdpgaDem75VtQtDhq28kkXtULS9FnuY1+aDoFeVlAG2L0M93OUw2UmDtQ6I8ovKjCPCaGJXORwUN6Yt9VoWyvvoGohZbBfgnq5Q8jlnxuLt7RDsWmVgANvZ/KGGX1f11OkbFOjRE5G8wl6NWyC8OdKgj/Y9xYb6V2v5s/zjsJxTZQhCf2OmTGTVlHWY+gmz22p7CIL7b8j05vabUc3LlgCYikMA7YnaOJl1JQR+fYblU6Ka1IBuxSr0n0gtVjmbWnKH3ByTGabZmOm4Kip+NeJ9jBaOF/bS6DkTAi3geJKuB7XqdtwsEloRf8/qYmu8k3ZxGRwgfvTQYOk3mXcyBsJkg9tU8OvZ8nI6wDmaVXMa7nweGWWonZgqvb3SsIkbJMvr2xvuWW5EQQ0wy3nkagiUNBEdTh9EQ0au44vJ/HIquxnv3aT0V1ZNpimjDztpkaasI7562jPAvz0KoOyKsXi5VQuCmrUizzOOEDeXDunTVqQ5Xfajly9QYxWxHOV+EDf1rrUiM8jrMq1CGhpetTXCDOVhUj7HHLvgiXremQ5k/7aNwSPx3MLCmDpYa8Ogx2IFEzC2PGrgAnhNNZiUTuHxZK8i2sEFa2rHU+DS3COSCczPU6wdzc+pKFfXSQSdZaAP9kf6LiozHY3ptGmWxSr+RP8IRVx91WDS9J/Xo+Jh7fGI3khvlLTfGtSv4z9hvnMHiBYna9cPQ2/5mXDrXyI/wtI1QfI94ziEdg2gdWpYQD4XuGUgP0gxImwv9wlyQciONTPLwBUsgFDq8VR2w/nPwq8aL78eCnCugmB48RiFlNmKwHo/O4GD7LYUNyi+mo5fRXi9ZRdZj6Kdxso7urIMdP+zIRRzACV+lNH6QWLi7uLETrId/ExyVWjUgljqqgpq/kk50qmhJrjum0/dODmZSAO6z961sVK4Em8GeG/eu/Cyzwbxje8TSo39WHh/KJLAxUyB3IgOKZUm96MvlGKgtWDHx7QGmtA7qX0LEw4AGdQtp9diszGga31J5jSUPDNhUlg2EihGUh1MHejMBWUjJDUoM6TWeq+wriIiE+xxl/TtbjsuSQftVLnNSCr0HXfkfOgMrz7IizouIR0IgpiGcH5PYo3sugwzTjO+n2+Ju2TzZCoRaU8oVg2IZuOmSGi4IeANOFUr1r+q6htFx7PxlvYQT0mA5QgLlaAPxZhENhveFECK/4HsRRxVJuJymkZO1ednTypv9sAzCgRPmooT31PUO5APnQdjrdHVEbR03+I7IQrZTL24z2ee2DIJuD0IlNIXwaW+Fdg8qUd5g7JeRHU0DatXnbXl0jFlHNDQYmTOWf1gEuf5q9Q8f6feG//JY+9gBNRsgYydUOrjmhTJHi8DX4Pmf7YejUVfHaQb9L2XsWWz8l9HOaBjR5+kbx39IYQbC6OXpYr4pNFmQoKnJ+eNVVwZMqAV9IaXcCYXUUES23CIHk1PZs5f/8kwmolTFvqZiiZb83Q60s/PBlQVea3TyybXYB6yUt6kO2YsYBNBTmNB2z6BhiZ/OKAT/5Tp1r21vA/0X41TG/zu/exbm+2T150C0csyO3cbhPXFvvcuBC86cr9BpAcQ3J0DDTIqdv2U8OEE+gEGXyljEOGEPGfEp2DWSz3mZ1sVBCPViZ6/UmgY0nxfwCWVzWsUTv9ieKIAjxTJMwkc00f1xRzH8bU9/d6h7HGa+Uc6mG5RchoOp1Ia2bO5wOqhDoowo1bo6XI6jsbJ1Cj2AjG97bnP62yS4KX4Mysb1MazbCAaUuhBABzCdgHG4ckO+04smCEgA0xAGcDd1D6HDKmIEP2OUveIsCaWJBSCMrpZWyxqhqNjkd/pE5PMbxAaILy8UerK8dklHpuMSDtxFU7OQ075Uewh5gyC2uUwsAqDZNtYZzDQ6Jy4vMgOjsKyK1DGCG4mi1yqd7PLLPA28uZ2GUZUdwBJ4XaZ6MclsScnx3UwZgTRW0V3/vZ/DHY6kmBPH2q4FEayJmG7t2E2p3LLjsPZNfktMSV8E7ncCNw7DDEDK97Da+0Owqsyqi7ZI5/HflyrFr91o1PiBtI2BO6jgAgMw4KDTe9p+BJhaIk6HjozGQd0/fTQP9AqYTSyjAYoX8d8iDG1+JKxHgAnWhbR2xtYKeFJN47thGv/CBXYQqRRQsSALfWbTGDJhi2wdoP1Vn8mlQpv+tHvKZtgHb3x6yrQoylbkc9vevbgflhZ471D0MyJxsZtuWQ00nivLZVjm7vQbTO30vPIATFqvak+RqrmGCpr+9zZMLVO08n9zr4oVKDdGAbPLvynbhTYE228en76bMtnDUNNlsI6eBOLTy/JhtTVLMx15df/zjfxS6fvOl9Eu3JYqDuBPPexyll+Zf7TeBaZiQ7WdBuZ6oFS4CvOSmd65FR/th+bk8nEdDCZu0NGKj4j5gT3RrEZlZWntW1XymaqulpnKcEXISNNNBv7k2F2gyvl7SG53xFZyyFs1TbyS0JZ/xD9ep5WSw/yr9aZ3Y1jonuRLzbj5EiLiuclZ8IQfux3Z6eT6NUcIrTAm6e2/ALp+nY1o9umiOsd8LCKhq3vbOKLdUDL7uHh2K58xwVe9Idzl1C2R8NqhktHvs7sEoN5a1M95EdVGSNAEItyzfkH1HqEjNXDV6DOrwV2tBA8DzmI27bnUN+KzanWnFpNjzQnhDL3YcZlmfJCkBgA+pysqigGhRAaDLcxVQYnN/IDGSiV/edYo1SJxHQJqFarpOpSzfp1IBxizjQOwq3jtjhWboOMxB2pU8osCpiKIc9Effeg87u+v01WR/C9tdUd2ncHmF3rc8uSv0SoVL2IGtVUWGg9ZnKUawmn2fNNhicKdOfksV0hXwTvfHhTHiXsu/TCGI6iZ5JR2xYpIopPyS01YW46ATv14aMdmTJtkJpsVh88iRcTNO4rdp7Fuw5APCTBMAs1rgBuSWYcL2YXK2zgi5epadBFLbJESifVBP4DwrkOqEAZeXzR9C6ld0puVixY+HKxiYleVZIY8/tUd46KJchtHMOtTCqDAimB7PbmRAv9r6MBEgj1lbzSBJaEUF6iqNQ5J5DliUYun+5eVvNnCCHk+GyXxBdhQJ7XW5kFAL9ldZtEcj1wmlXiPmyopxbTQhPze32PWGV0l/BWWwNhpddG649C0gT9hstM+25vXxDIFNghElzJrlKY34J92nDz7KObccLtdi+j06nHauC8AbBX/e5ssul1fSSPsiZLOJJ0yK2k6Sp3rTwXsxoK/tFXGMeXc9LVpvnqk77bUCC+HLKY3izh31s23NQjeWa8uM0MdDzdraqP4mTbqBZtdSGxL/55+OmOKpuW53roHsfOIuufdUJ28g0lZZZIyTdaa7FgYVTyBl190RRCsLz0sX9E4ZO2SteCE0/vTouIDyEz9pumPzmfCp6/tpooYwlDfiM8hAl6uDe+GIwRGWPmek7j7h1UtBDRKerEaXJhbqk7lFuu6wRWCshpdV67WPNPWFf0X1w94gewBNNYNTn5b4lPvZNeglmvR8fQPKMX3XX0OOueOc8bDp0IWX7Uj7vmwkL3skDgxNYOU0aI4tFsw7/9XlHR5OHhxO7BoM20kI8dn9q8G2oq1Kr7wLVGb13/3Q94gNL33yYzU5Nsi5i7aHxSPf8dqhrH+/m3aOGj6XPg4f0Pf5+yC97ScVw/47PcGZu6pX9yhGqFTI07LwzyFO72bgeJOHZk+2wSinXNrI7kfB16UBau+nYLVnfEbhoc+P1an+2Fu/huSduhbaN6vvTNuk0H0IC8h/1mAknIPDSjJUmRZar1YylUj0BSpw3RI0ybwgZeWa3w6cGBYw1masQqUQqj5g1Wsd52pJt4OB6IOt1AigujNUISK4ockA4mOFy9VaKYG42R/v+7rATaAdTA/9Y8gQxuXg8s0wIGxiaC3a3cfmR+LIuZDmW8ZpAtwaNPjRzsF76Dvj1VOtLzVT/5BFCCpvQpADoySsei6UsbK1FcHT49RQZm5DJd+ik9B4zpQz9pWkVL/B8RUv0031tbLZgysMEzNuJl/xb8x1McePEn3Z+MAO2WiuAK57g+3sBgi/ExXfDb5neTKpWnQdpXqHejZxi0bjLZuDUN/QWiimp4Z06UiZYZ+RE9GVbqSG781SemlvdeJ5K1H3OH8f2fUnU4fYG/DfiA1dk/yo38Zdb/R9KOtfZ5pXL44KKLxWxexZpmZ07p9gb7HeVefvI/4Egd8Rn9PQ9j1fjRqrpELfPGc/3j5ZeJQJNtDegxVdZG5oRvokAtcugI2q4TRsWoAbwnbmpuaE+MH4+ub3jSLTke6ePY/oe/8WYVObKUpCBulUERRaKkmk8I2Q1NHCOciWlx8IbmRmtGdNT91Ond7g7KoKpe2IVCSTTIHnnzeWL9tbwsjQFTwfM/pSoYxUyNiu2KCeiN7Dfk7El7iwIc7RKvs8xEOiV+GJ51fkbJ0qjoC5bAExffALdZzXbcUMjsHggDepz4gwJ3zD/muaLqKjZufqyACXOq2iul/AZt9t6dLo8Z/j6dmRUBjEoogwcoK6HVK+BihxTtYyPdkHICHRSPu3ubsOD8lirjorE/63N+ht5WuSOuXLP3PGOinCiYuxI6cT+A+nL9it9KlVTl32Uq/oz01zeZbkUDPMMxxGDGBcJoIy74bFkDtU9WWWxmftGKL9K2BTx+S9GJ/NhTbaEvLDQxQhFHYRaxO1X1HfqCder8m+XQzZWUNN9BFp9j/VqLh95Ovp3GypuJYZhBk1F+sOxX5ftzF9mKiOSjrsGIAnF/WZBOql51Md/euiEmAPVVqdYkFkefvXWGLO9UxErUKDm3a8QSAs8Z3f++JKmNINGOTkyT58ZoHRKCOp9Tmy0W1oyiZaPVoR6kgZOFxvzgxE6PEBaCH3wHO1bn8WF9BxZVx1gPqU1BMRmqope4K2ytOX4J+r8XXaWbotinxPB7XHznd3C8MVb8ozaZqqnhLO8M6PnMNhRNwToTiRcG1D92seo5fLdV5/5phUmTDmv08Q3+qrf/Jf5D2jzfPEUraJ0GgIoT0i2BL0SMbJEmbdxo7CJZ79bLk/R5lQPWeJxV6i3UiMRLWPbqxyPkJwiAZFeEukiTyet724mZWGQPlcupSsEkMmlf27BtAowzWf1GougcVdLzaSdYaB4/+uNAIr0ykDzMKZqIaEuHaBLjyN8o3RST9iW+2QJwVjgb6m4tzALVNXnS4qIFfoeGlRzucLwnn9RbubzkQjqKn7tWg+3Zs3T/Cu62dyZBAq+jlmsV+BprfVwEYf7XR8vx62t157luBZiiv/VKU2RMa+BLW93JeyaTWUHNfWBCOKPCnR5g72PaKDSrDlx5FfaECGpFKxYkoL/mttK60DR/dl7EC5j9tUf77sCrpia9Qt5+fCb6oWVl1ueM4zCuUWAI7v6JhQWMyaJZuGrw5HuK1XuGRYPAIrfdcocFBPtO2YkIa57zJ7Z7qTXhN9aAVGXmiSRcD4lX+W91VijkgRK5n9KwoNPJnRa+n7y67qJcyHaCi2J5Ta7e/LOgJ7v2FuvzS4p6fyPBCDr1DOsmcFa5OKtG07Yiw4pps+Hl7NhMwf9d+wTIt3Gcota52vP/u2LnOxX8e+IQQJoOT7mXFfJyqOGl/ziNMYzdaRxnoVsAN4RecCWl7EuuflabXTMy3wBesH3e4M6IRUjreeiA6AWh9LxNskWJJHESBCDclCtSlcmSIb1+qZ7wMJu/SKwQWXz6Mo4+KRXFp5DBEJp0BTN2xcSyamKhyIIXBS6GCrhMDHy51gQBtFFWPSR5QAEzqxIVw/tpL80xyaAsVcBDKPeyQH4uzYK7Kbz3l1O8+/xlCCrKGCgAYw55sfzTfxDYTeWLerAmzCYZn3TuhMMWA0ot14OZwkG+jSpiIvfkEDELBTEmRpzIqnT85RffkfE2nbVP0JDrxqgcl2uYbSMpiNJLav8TT+l+glLSjWikBjgVpfgD39CYAKMGZNBKjgEFF2Z1zK4JNuNHqpZNkQcBq6jJrbQhZoIhfqTFbNOQ5skrqjMBV5Bm3ctmJk2mIg8q5/fWXev2ud/6tAHSPHd4gWNFdG5g/vpUY206JvYwU7DGQo/ePOvJuX3fzdJ19bqopFfiQBwo826+b2f65TKQ0Ggsocl9Zjs+KF5esOI1YmZLGAL4kpYF0edOzuCroV+XVJ4ogaBRP6cDmyZjo024ebAn4ynRN/I3Y2omXLSzrl9lprpZ9dqUUIzxGhVpNvQsNMKU8zgwuw8ZtP1B7FG5FfKcZ0zev0JvgTpew7Yxko9/suej2elu6AKgQ7viVnpY0uCLUj0Q7CidlJ2BifPcpqzTaWX1oN0eNL1nTvOA96x+mEBf0UzUYERL9Xxkqaams+2e3J6H1fk7M7fSFKE9+OnvijiKpiCFHmeMBnSX9Jp9N2AU2THw+VRUsEOuqlYOXzEsWPRfznkDQeH+zjw5f09sPE2K9i++SuaBnJhMjdFWt+uHL2hao0Ky3E9VMNFiUUMSiC+qjGa8l4sgUWT16ZRAiaKBz8aKNb0u8R32Srp45e1ICQ1noO126M+w6Q+zLSBXmzBmSNbw3fTsCNnTyR68ZvWkfqabSz9Ys+edoB4/Zqj3a/EARvSjSj9rdnSj3WBHMBBPiMg/ZsglqDsxYR6AMjnzio2kuOkHq9dExL7KsOO2dEdBF5DeJwsf/q22Fw3iq5RPRJbQjhzrTnTzimhKAygGi01teanyDaOkSsvX53PM+f5HHw6Uj3OswWrn29YCrOBR3EwcizNgjvGr3m7Zstr5GwQeRtaNBqBVadKOLZRGMKD3UGzErQp3yqnC/ZvxwnuBtwDsz9QfCGayAEG7C+i5KRRwqdQwTzCngM/LRIZpEkShd6y875dsnRCRZMwHyybiIjAnxgPbEz35kOMtLFqf9+cvd1CTFRMaWobWFIvhICnCRIRukVLRnaYKWwzpm2UFqvmq1QnRwXP7lfYWscIFhgLeGiURhIqNRdyL82a5zlrHdEpufC0Mcq1YWsAqbOL/fuNGid8PNklo2FVin0mI7/puV1cgHENj9pF5RJ/JhkiOILuIrrfpUZ3F0fHTTvZ70rLJOd9Z5Ze+FToXQw2bA24pTw2MszmXpW3iOPGtLtVjI03c7toqVlnxY+YwLXSEKMkSrXzhJrUDGmQ7lu4sxk4Ak6kAXYGh0mvxgCv+d+/ZD6btW1Dj+JFmI1XCeCD+7q00WoCpjZ/pm2kakGY78QlpoEScbVGiTNAEE5263OBoC37fRD+T0IXrDK3MVL6FCvo2QjIC27q5cdEG/MmMbUPc7r5LG60jgnarDasG+CWqoxLebOwmhCJsXzWjomon085rTnPVe/gbMwoeQl0qdEUDl4zfELmP0b03aK1DTQnJNR/EQzGSfPm+OUiG6xWRJiOwSgRqhDSSbpJr0cpzzmECWyMzkYmeDetWYEFAi8AavATyNpq5vaatlUqbldBq4ATFS/98H4DKb1ohAQna87nyMnXpeIfSLvWBlKEWWTZaUyzpIvgwAuuIXoJjqX0hIIlPIY4Sv3FreuotF9Y1p2CHI9Yct0mJA69s+qP7a0fB0EH3piJqG+H28m0InDlId60601m5Wv0o3qMj7Zt+wpfIWpVfvRd78qqAzfz1DarSJ2+xqedRU78x7h6SmYPx7/ZGL+CBFe+JaJfUWIUaA1FSUv9aaxDAy+daIIPqfxLczKA4JCZ+xT3QNMOdVWzZUT1HZw9LUp8oYZ77CSqlbSIzqI+DBrpfo5If/8ywWyhfN+8wP/PcCBS3aJrLxeBQoMHHWfqIXGjRdvt17Oxp2fX/OxyGLLaGLIZB5dk8M6I9oEQsy27DvDhE7KSjeIqnJNz4EqoRjU0EzHlEwap2wGHgd76+RlqBIPwZnAOz7xXTd36hyrdTl0tVdUX6VHdlgZj5pClFFw+ycBdNr/i283Llr7FlQMUGSjMzo6fyFdR7jkI3m7ri+MeTqrKyNrVdte0eL6et5D9d5sWL90lQ09dbxjpn+OxPNcopqrjRmBFBoMqzdxRawy5FAaLV83IyL3NgIoEarwbO5YuquIytVDdwR4bXS9kcxnW7pckcSl+rGS4fBhy2Zg41sM/TlwMuUrAVhSrZxYwVJ7D1v+XHLLU+N2aBRJQjlSv/a2MBeoLAfKd6oRQCTjZoo4WKNuTx1J/dtr/iDftLEzBOA0lheC1O482ATik3ww1+Pol5U3Up/5q27ZA2sNfYqsR/p9dYLlyjcmSpTF973ARIX6vS1xwzgjl00H0M1+SruQJjG3Vu5PK+jfsFeIJyCHyZSDd/NvsbIEiualjMtWTOx+fL6Iiiv/V6vy7CpkZT5x7XM/NcSyQJ1G9PsMUHQhSe/h3KdBnjPzqwgyIgGsahl6aPyCkC321Xf0io4YOShxC/3vOnItBKwUb2ftiA0ab7XF8l3+MjOH6d1X/f1R8L7PfRp1Sq8IB/fSLNjOoPwR3uaKXksIQvC0IQl8A09S0UJlH5SNdCA5NWAha49M4OSxOGGSWz+V3IWM/i2KIZ2rdc1cICi/omRitOr+PRIKfFeW3m+6Hf4ZizjdcrURKhilPnspUxXpmW5qrsp5A1TJYRj7+u5FwHV8nn3oR0kyOhB0a2TKw2Q5nIkPhFG8vT1Owtw9WySjnGuqaOw3sc56S5ZwozokcdXR/myorXE1HN/AnbTtIT4dwpXnfIXdEzePQvZkEKUGdLKg/boGOGfVkM9blkWQ1Vpg0B5xZ4hqMmzWtdHkPyM6huotcuLOFvJ47LR4QaRJgJeG2bvRQxqg6Tk7S8d6UKH7dYLCxq7l2byLldfb9Px14RlEsSGNqLwZtMPo8G03oJJxwDY7T8UBcjJ3xnDMlSBQUT497Kitw8NQN/Gls5Xk4l9JuEYPPBZzI96fT+l+Ap2x2N7G9NySuLk3HVQsuB8sDaV1N7MvToFArxusah4nnQAahDVNlb+tcGO2D4CkVb3/bVLkSiYzlHGuDihiQmrjv3q8rKDMuY2PoKMD5UllqdXo+Qk+NJqB80oXmKtXfc+tEdGQsaI3Ia/zcNYrR2S/Txxa9zcrCQsDwf70rO/KFaWG5kEdJpNeUcexeJXqnBN6DjgzVeDXKCJmzBoc0RAK1Bx5vDdMRkmeGx8FpulIKMyQANXitPSC0H+pSJ/1xxpmMc4MP8jmx0Fgo2zFx35iq4fwEKknYY5cVNrxoQS43aRxp7OTS3pwTDPca8bUpoLaVyrt+fhHEzPD/CePLWij5De+gq/1NkYWoeNcvq3VJPMHsZNAW1SRH0bPebJ7TPs3Z4awB0mVYJJBr/TxfWtKbqpdtAJpdkdR1Dsnm1uiwxWEBLafEi5DQt66dvyNLLdJuVu/4TORWsKFtq5Stnq8VvT6FMu8EcPef4LDGJuriNLjtESlO1GoRVSAuJY0anhBKrXlht7tX3f9DRtsZC+Q96jGlCix5L1Ja8hc/Qrwmd3k+Giy8pQeF/Y9mn+H4Gr5u6vC4ke0GL3dBp0QHb/7gA1S8DS43hBFJz+a+xOxdLhFpzR7Re44f2Cl7R+kpd5i8NxO0zlXfGx+3h1BlWfWYeQnhUBP72AAu+mHpGmsO5hzVt7fUYVdPTl+vPOSPJROITLpEYwFjHak2bffOq+tH+jxoeVwlKwkykBfKGi2Ck2Mm+YnTtxWftmRrYQxbEtNwgMwhY2fgZuRBonF3Foi580V8VyHxcofWiQLwlqFe5oF57iBO81tztCfhhXHoAHtb5ZKuO61kCMmDU2lNbzdxpNFGHOE3gH3EQpzrUof1BSPMoMdW4j6u+3S5wK00FSxI4h2se/bDA1ROU9Eg9+gvm7ZcUYWjKlW1Lw83RejJsvynbeAobOBM3iFJTHNM6lv1SRtnTqPlz9glgteI19Izgb/Z1t0PPMBwmMm88Jt6iWuhqzxckKsV9iCkg58vJw1vFZqBxdt6gtE8WQqohMvsXm4pPyybOSXtt1sbhLrbNablMDao4oyicjMTAFgbzde0sjx6uxqpWl4mj4X00Qd0Ijj+eznxmFwBFpHRYGSgv/41ZUM5IVvVgnEnVuEENBz6IKfrt5eNEiblVc+ovMIWeAHXElgt7IrxoduylKeq2gDvq36f8/8BD50+xEczCszqeyMlc04BEzS+lJuOMgwW34mDM3HEvl4jM7fFPPY7eJ3s9XdJexTeiZ3d5c6dUOxEAMm34j/2Frjs38gi9f+a0Bh9iS7lQuIMp6ISCjwupblVR3l5MGKBZwgYYByVc5s/O4Ppzk9XxLmn7EKtomsUbmU6IPLMAyNvtdnz3NtdrzZ+6021QNXD0ikvFJpQIt3c4jX29Uqf1pUs1GA/1iRQddgeqJLkNV4FYX1mz31OJMytryYpGgdbHIFF1smzQNK9Na1LStLxmYXtZKV5HENpIECgH3ee9oSoc94AXP1ZOj8K1+Mmy79TN/bAN8DwqSJfY/EFfbSOhCgHoO61gOUaM8UWBFu4oZnP6x1DGkKgFv7fzhAVOb5rHQYs6ppy2yK0dosDn5X2b36SMzR9dr5EfbjFqlvti+J4UVPWlBZytcF7ZTu+yX9IfjTTeiuoybAJfp6VXrlJxwDzk9XVyaqTvAGStqTydJhZihexjNlSHdn+wTUhvJGW3BmEAsXH2RM/YsS+2AqLmtWsJPidzY00MFPnsU2KRzHzkQQkyyqSHxQ+8DLopgPHyRVb/RHTFRT2b2d+KnqJ5BCKgFVSua3u7sY/kJWODBY8XNwAsNUBfiDXLEbjGo8MOR0z/GuLf6mcJjRIuYr9IWmOJQDJT5D3F1iLMF8KRJQwW9ANL2K5x/c2D2oBFregFyuUyeVkQwzVvxV633l/JgAJumky9+QNHxh2x0lq8AAeHOTJfnnb6FJ9iPCV5nfGcjjkftoZpXzpgxA5y7mHguErBSpaK4IAKp5oEnsgHkeKaVyhm85yqSyB9LwhiV7jRb9tKdSfAfA0AXYGxg6pq0N1yDUH7buLqza6dygejhrFDj4QKgCcv7teBy8OnnVZkizW4kvKSMDGymXL62QCE5b+5pIczG8JNBFs55SidAtCCVIBT9OfyJkogIGAdMH2TWOqyEMmSiYOFGaWp9UrVS9K6dQJwpbOjh2sujtin2zV9z/ot2DWhkZqxRKOZeyzwbNXKFe1jfen/fTFB1ROU+y4GDHA8doNkJsbGX0ypfPYByU9lxmcGUE/lJ5O2TiWEaQ64cwqDcQfnwloHQ1B9c3PjAmE/0tbNrmH5IP9KVpcdHDuiY8AFZNPKBRaKZheo5AV5o/6o8PY3EWxm4m7LY5PsQU5qs9djGKWg0ellOKt6ZcL6aLuvhTwv0BX87mzIS3F4gabjgpt3oW0vfYmJyFiL1a91jkomTMnOK945o60JBly4YU0xHSz/RbBqjbBSvCEj3iALqEUcVmBXrOFcU+vZ+TR9oAM8t8pz+cf8KvCXYeKG748L2gSLz2GAo4K38BC1cKJRznNBdBBCSE13/CC3GXSSMvy0D6tLG96BbtmtXP2N6PetQpzQ1jCjGssCDsKDDcLquEmsyLUv66a7jjX8/UZTgWKq+5/CGIBC0qt32hKZIRDQOdtNY4GVzGrbcFibpus6vWzLVKnJFv4MmX0PtZsi7A+YOV7eXurGJagC1cWKapIyrwZaudRiHifM3Lud0zkUuEHOOjm9k6rEMxsLoJ8hkOShyKZ6pogi/xzMpsj+8P4E19128kWqpytZLRNiBhTQqrTdDZfXpW0tQEU1Zc2agC7lEswCLQbGL9Zcaw9P/Hw1lR7xV8TD+Gm0GiKBC2EXcAKyHRuDQrgoUQ+AdQqJLk95dNjJmCLtVOtqkONzZzQi9ePMm/ZVD+SwZolTg3JMoSi94b2/Nohc22xXYrUlOu19e6mVJrjtJK3PEcZrldXgXNQrkb/2FYN5oxeAgGZa57zhLwH8v/jREMLf/BFFY8MBfo3Xv1oaR2wco2IGT/mvMYMxI8sEM9SP/lE2rLNh3XGeAYED/Bw25MKYzMnGCqIVWj82TUtUT/uEd/xZfI9V0bjhEScMKWm4IvOI0NKtRb18017/ce/FAFrO/PF3XBUjIOqQmE41ks5H7TRyF+WcyxDfJ4zO17DqNBIJhgTO5JNMwptXeKBKbOtpS7L6N/vOWrQn4W8VmgPY/RO5bzk8VRQ6on0Nlopml7A03nOVRcvqWBiWY3VDJIdMYdjRbG3KSBdgY8RnX7ASap2XKOmUvzWHQSB6BbgE/nox8rEopLTqeJcBI52x05SSfo+2ryJzfTcXP9zhW/CQlfwGt0M+QIZYEikqU3gDRjv+Gm9l7oVYaGmopSUyD7fo6Bue68Yvkrj6R08pRNgpRc4AyiHHsbnThRC3/jvM+lbWYQRJIcrLyN48JcPJ3GFp/gZTdGlf333vcpc/04PDenI25+AOw6qiBlD9nH02FgecM0/uxleZ3DEpsqMgLUMvRAUitBwAd2ppVxF8eRKAIiLZbxAyDZ5RPd3iO8NMZpbNutjDDNw7q3UxDAN3hNXgrsVxBd+4UJjdw2LgG6RdtJrW93rGIpetWuCCvGQlDzdXeihtxuWhp8QlW47YxMJ9DI3X50pyXiAOVmm0bqW/QwNHLgss6ZhsLBvQEcs72UYhCsatUxd7WxTadBw47WC5C7yR7cntsg1f7cTBjpY/2bFJYaif/nzQz3pWYkBZhLAwZWF9QVN+1OkxWrhL2PGGbscK/1PVEJb2ZbHjh2t2i607TVGjxTjHkNAFpfxsoZKCniKnvXFPUcPaYhAQ3rO4nM1fvXKfMsTLF+MCL7IriK6QcIGRpUS9HPKdYPyPSc270sg+FZN0rEdlstmKKWTREKmX71/Hrt+d2hA8D/vtJ9MACYZfMZFmAgNXCIn/GaRTjuWAKRexxeA9sAPxPi607d24NF8KK7bpf29wockHMvEbKgA7s//Eaz4AJi8/g7rUp4onltX6fkpVujHLIKbvmiOA9qlOcC04eJQGakVVB6B1ZYkC0gIkaq9Qimsl7vYffevomvWnzuNenZFAGbOiCtrLN8HVFdntWBORI9IoZ3vpHVR6v5QMeth/IdyH2e9f3fChirKkBlqRsakmrS1xjp0wb0+rjh07TODuWVV3j1NV6K9poAFnln5SK4j4Ln8M8LW9b83rAfNlWgfZOcgkjI+8vd9tgl+WYNF0B+p+cxR37JqJg+FLIAgWz9f2NN6ucgctETJmXG1AnZQqy3l6vkfLVNOvHmJFTU8LmJB+FM9DSt3t7oPFuPQYlL9+14WdwKshEZWo8L8vKBnoLWpxkvKaPycnffm3e6uDjLbJPVS+DvEWrYtTB3hE8/EEp4Mm8m06wPip1emU8+GdAIAQMgsDPf9mhW4ptwwQADOFA+6m6L7Hf/jSP6xvLEO80jZWgEP710OJoPJsmqTgJTwVGE2jAAYvfNKMNYSf3J6txWxLwHfT8nf8LV7mv1Om+szW+pSMUyc13jlsukQWekx+jqoG6eoISN3M/8nOHBqp9YghikWfu2lnX5I77wFv8XkAUMxRqo73mLPji9Z+66M7sXYREstJ5xtACA6Ryd7iBq3ZorYytyyu82wu9rRyS3aHjz9WprOlhxOTOALzyIhgUcsz88taegSUZB6MVRiA3yI5T0Q53bX0Mo6HecRBdzdfxRBT44RZPfp8/XQecqFisyhnaU8OOneSJPoemSkvU0ekgrQhpaUIU8S7elp5YEo8bqBFs+ETWF695JE9ChkyTDyK1tUEdhgV1d0QI6dTQeRhqqrvuR3biJS1EcQ1yEvCWrlCzTT179ids4qMqWRPWercHuBV1zThM8rkCoFJa5IYNkOkQK4XBzE4hOFIt4PUYfVzuNfbLnug2VRl0ECpdOEoquFQRzKf3I5+CYek0NKgJIe6Z6BLNSrChJD7kzQW1wAI3jj3ajAuzTcHGH4bT/F0ffSBc0dBOa065V7hYJM9mz65OGwHDpdacSUhHCQeFSfpwPsmV5JWa90veMrtUbwgdzh1R1Hwq/+qSVaKXx7gnjdisSWEB0VF6jz5Gy6t4SZfSfvepHzH+YSzRbytYceFJbi/N8B5ZCIGlUUrPg9isfNC2aCSYeMMdIiyVP5OAM8ZDT6mVuFr2m1jt7sRkk7v0lsEH43kwB1PeLrvk/qIIO7MRhfa5HKltLO5kKIrPdi5Q3QvlcgfaSxeV8hCcDm4/L+FmkESZmLehKMMcdnNsvC6pMnnnmwK1FUkI3KIzBy4JDBqO9774ISiwYwDRb6V1N/XAhhjVRv4r3ZRuruqfs9oroLbXedFRZ795C26J4cstr2ZdLQ/CHu+e97VxY8jDjXYZ/mgXTVp/6f1Effj/Z4pvtrhLrT2NK8VhWzXMz7Po5uqH1z5dGMtAAIdrrqQjbpzh9l2XUxPTpg29CeBey2NClHS6LBlbed/1QKMF6H5D9ZyYcny9q2pZ4z9zwzvWfm/FycLNeUtQQ8uH7i/G8GHrPq6/vp+3KguPsUSKs+pE6XDwK56/sJ7L9LD2uKhk+zQ25PkwvJPihXMlvdw0bjUjOC8iiDjXy9QXfTURsNXtCcnJTsbme6BeVFo89WC68rrv7YxRSyUOKRJziWUGoWDNohkpbKgVviDowuBQTjx/ft+EG6YDY6peJ5ebpL7QTE8ZaJeiaM/sFLTupdXJQBTD2iZQ9sfrEcmHx18ugkd8dd3NY3jhfqMM3HFuVZ5sSxuZHvCFZkNa/NSV4jS2eylyz8pOAkX7j/dDXP6zbbpTbRAkyk9vB0TqTFn0cAJgTj95xceJjgEJEQKXVqRUOGvcHDQ0oLJpBccQFBstFkkwSbvUr0l1QGYUTmdYbEGUQJFHzNDoBjlbsNCybHlwGkWCUhd0qeLvFRVbdfj7xX1BmkPL1XxXIbNrEIdnlwq/T/1G+Xc1Ceu/H0bW+TgbeR07hkhQrEB7Qa8Ad98tIzJCw3gdu453lUVo2+beDzh1iWRwPXqGiN2QZ6MB+XJXxlP+MSNRyg+1PROW9rLmJJUYzeyUPQSoI5m0zIJbcz4vaKQ0PIQ+rlljMoaddX3B1sMfJFtQo9LDz92Mm1qwKu0Ys1of+gxLiDX6MlTwN+vCVgGaqUiHX+A7LKRpfuSouJtlcUtZGmnnZ22pxLM6abuIjxPVQYp8popFLLQXTOUicI3W0bB01j//TXK5+BMe3u2jgdfNF56yIYTj4x2oOQn0VeomMqczvYHE6I5lgq7pUG8HnE57gzc3KEbwgYVk8zsB8fJ+AihNliEEFHSkmOaPRQMVd2w1DQmOzp9BsrYMAhewfJAy+cBK7VwqVZ1TSvXP8juG+WsZ/xU7Kv41SwqhQ5mOMlCBAUxJm+phEean1+z24l6+gLixtEqhTzKdeIzVjfb7l+lUxqpe3dHB0TwhugIAMO8eagdV22AhXAo/aJcwtyxqNeJKg1um0UVCqrUW+4dfQ+R/xCXNgvdT8KopBqGZLKJBPm1Clbh4JNQx3RyUWS9GvgM53t23xhU/HNcNfpI50KvCqEMO+P1n2un8zuks4lEnmxoiqSxFXDiHuNJRWJ5y/TqfZuYu5NJwQru2JGPxBsXvFREtUdFezQbJ+zMGYnJSjMa86UnCM/oAK3YiJtjzOdvEJPzxTFWL7uCeGVpI/nBZjtXjXfNpUhxZZUnxKoOap1bocdrv3WE9yfS5wFof07GCwgMX58F/fxcepCkNDCBPYpFSNyjLKJlexs042IhPBv/+ZQdhlLijY/jprh58DRsZqgGeg2mDtcxBFcYHZJqev2ied/x8NqN+SuA3wgx6SixBtREVzJZ1joFChN6QC+pOeo21f/705mg3kBlRKiisGncqToWuqr1K15ROi6I+Q2umpt9pbHrJO8yKQu76QIgHwydIJO3bi5Ajvdc2sIUZcrNVqO3rYkvpb9Z1ZeAnKOxGkw22/5Mgtlg75be/RwiRs7wbwCudWc+UV9VPv7isTK9HkeHXdQfQooixHxWw2+yM8HzdchDMxgYspCs5psyc0wSuVXXnAGC4TWbB5IpX1CFQN3l/eFXf/RILcl+QkGZy/68FvBphNbEIPxhhUnN6BZlp4XMvR0RDE+fwsnoFd0s2mRtH+c/dtrnce+SV1QxCbO2ArBty4fDDSBO79nGmT40qg0/ZwbytEKNtaxx2YPpnwQoym4BdZ81QVLHjoGOClniuc4Tn3Rseb0lfQczRzYag2wKeXoiy//jwTw4pW8XYjsRAmEAtnv7ca10v1vf7DnLeNbDP8LhgmTRboLrFYamjit83WuJVvv4+7Hp8rj3Yj3waG2nrwY5DJpSS+lu2E1l2UR1585wRN9muq1ec8Kj5Wxc+yxWjcmlZ9ZISMzUKw5S5hb3Wt/wPc2ohkmOrC7f+0zD+vprN5k5/q8x7K/vp4RYc5kf1cWpGGz2R/F7d5EV+MKvxFy+wXWN8TgF/W3Yl1m4xPPhxCQq7YwH1KWU9e2jWsgNqd4nDeiKR0HF3gj7dKkcbpD8QwxQxj2buRAfiIpXs2nNyEJTW3e1E6c6qpMiS/sk9K8VX9lLfYtyA59YRJDT5nZJYRfOPsDoveus8GDWl01ckqlwnqY012OqFaByUycKVs3n/+u3Ag2ZhRgUcw+RtvayYDSBLhj+ISSSw6FPXXUtMTfjCSDWwjcjMzvnFIrx8zGA8gL32on24rv0wouBYt/P7yrFY9Ozb46/8KE0juKtP1OthOs+yM2QsUNtDu1ztyCx8PkidvZjO8u7nbdJZJpKJ/s47cSAqN8a4H02Ue1BZLidjYoNO3DzIHGJGc7hMnYg9bnNPvWazokaAnMN6pyfJP6BR4Ke7ltecnqZDhta5rmwya6NgcCQWujaUX/Gcnz/boDS7YcywEOq39pfvbsFTESe7Xokuamrg5HvFLE0dPa3jcYUFEGpQbHGpuccm4x94EU7NbR1U29kSu5aokk1DrXFcV/tAI0LfgX4AqtVlaSzkLvHt80KbYv/53FdkmG+4nW/T8IBfO9ZWPzgifVsD8fersaA+RKiOr+g5DO2LMFK27hpnUf3dajEtdlN0nFIDoWdmAcYYmA51fHdY8Mf9sNzzdxspw5wecHFaEC+1Qd3ZH+39gWEea3Zv64zqZvlphqcwHCGfomETNQfXq1mSEK20F5LuOgt+jc3jPl/nNSAod+of02C8Rl07+yAt9J+ifdDifZs2yWM0lQg7oAvM4kANUqddqpis6KfyxELERZe27a6kLhZrw1aiOPwKSqQgxyMxAARTlvwyvd41m/seTP176yXqcgy4iUSqW9Pg/OFdiw6F2LhjuPoJL2eJlYHlP9nsfV6P4dH0gXqibqWVK+ktGMKy+YQTGUIGlQO0ETo6EhXFBV9l+qSSBenYQ1ZywuBCz962FDa03hdDFG2qjCSX4r3wkuwybMk9eooHWrbhJRkBU15xOUYfOzZFCDLZtOf4R/45O4YMgPn2KWZY5HMD6U1WiVLxtrpSlKhTNbOqD8pmFhLctYgGBtHsvpneqyD8M4Qs8YeyOjQUoir14NEC3GQTOppfvlruTGG1MjFS1QWBvoB8o5xCldsRojumEdYTnElMpfskVQwGV9SMkPlLOYWrNBUUxRPwV6N2qPFYMz3ztm+VyaI42WDcUEgrpg5guLwrSj3QPkx7QPinaS+JFKRXoBCrRiJpTdCsuRAYZq8YfgPvKu0TphoX4H9/vBbbt29oYiwdw6jpBFDAE88w+eD73PxHdwi72cRNZvaNTMN68ZKv+moy8bzMeHyZ85gJbytp0UV936fDOQbqNtl6pgYW6r/2Bkm2Z9gC/yCpoQR+e9nY6Siae6zV8aWt8ACjAy+3DsPUF1dyEgnTzNdjnXHhHrRoE8NEXaRUGzpacbtsMfhbnMYeJjdJKAPw5GFNd+mrNn4s+fMkag51y9CJB/7mhrV6Aw4V49rIzqG1SznY0GWaICPnxBAnwHti9L+j7ZNlwnhe0nQMEcUtrYTo6e2drfhLcmTW4QWDowzjc8wFwkamKAhxfANdPdxctjCMGmyiJERQfGusI690kYA3Zuj6HVG3TSsH7mMqOR2rVpoQfNA5L3FbqKH5qAkIMqsgB0ChTfFIZAlWVT6DENFaABHS7dAaj1RIjCiOTtYUUDkZ4bknOYAFdz8g0UCM5J7MAp+A5SIC6qi6tHJfw62xhFCGeEP5NpJAqIXYOvbWPWu2CQKqZ/NSMaMsUYT8uy2f91GDQWsbYqSMuycqUOfeqcTiHYEXJP58R85I9Uw+wM6doSWNi1HMIsdwADkPTI8KqQgxQomJDvxJydtHHIqOdsCnYgh7J24jPgozyy/aT7zGfa/tH4X9SAkpsW94c6iI292RLNU8FJyD6Xqcf4g4+Ulp9kxPmD57T/fqjVfH6PQgUCcr3+1UltEZHiSCevUhmBD+2BxZKUmeHxqlyVmupl0fHk9omQLsNWfy3XdjWU/uzWfj4QY0asul8s7d1uJfj00Y18iOiBD9ybDzRhkn3xDea6P0hgGKMx+bk7Ac2pKbtbkcwBxAZeCwSBRp3RbZGbTHfUUHfBpS9F1ZschEzEdvIf6oH7gvLA227IFnGtyWj1BhkeFqAqk7d0EcZki2MIA50eyAMtTmKeWTXzNxA5krr2c9JTX5HFDE0ACVDxJi00D86UNY7o+WqbiQ4PBhG16UyMLeCISORqq1pz8vZvML6/i04w5+Rj8+R3nbpcEcPPMTrbtsSXad9YrqEn9iEkmuptzmhGEsgJt0/Rjt8ZEO/fyuY1fGvJuXnQReTUFZaw1SQlBuxNCVJVyQVzlAOvR2ZQJWzJzHyAxltUrOrx1rZWofpKOY8rQZ3byIyXxGpFMmw0HJr5MqJgik5kz9UsypfTlddmOBSo1liisSznGrP6H/dwT5qsS6geenD0DRzXnBmrXhDjuS923x7Q/S7XQHwu/nPMrZ0BvTIkZaWzcrwzThpi4BKvV9CdV2Eek8YRTsFPxxzSAnIQXI9Gul2pfeZ2uJC07Ud6pnDk14PLw6KTn4R3Qo9u7bDWKkMvA68A+jDM7IQu70/LfWWCpOdk99K8IyzTHMeOkUx2fUa0LfwzwpJJPZAxhEqQgMeES4OUj243kk5XNF0Phw1uTFlW8+3Y+tsOCMtvKPOWdINuC4lnQRhdzPOyR0fVb6bofFs6MpiB9h4VrI3NnE3DZZ9Pz50eIYKt9rgWHZ0aIzbuofx9uQdU0P7ZqvN9Pdt9uvf/QO6Dy9XLlzWkJtF7TS4hrvo4s88udc6MWxY4sy0WTLnWr5oAdoMPvv/lDNnr4yfDXYhQKSH+Ap7B0wXByzPlNvg0CLcH4j07jrS7YRwkkEbRAUaOgMqPTjI6NSkInxuOhvFusQOhWvzHosYTNE8AP4arhZDOrtKIdztQVk/OrWdivefERZetlhhMNQ//NfHaDavk/c1fTCkJ6z/dgchCmUFng876GrD0ss6edeWBoTsfSNwKlUwVZZ3T40KfmYCNxxaO+qVwhQ9/7NllXrKC+UnGzKOZquAccUL/r6qKm6DSTBOn8/URG2UwEWbV/MvGFrD5eIE+bbOUZUEBKyAoWSZHoJL+3UXBDBw7Op0VOpvfrNfT9gI66bKm+fec9hb7SYnvKSezIRkCrfFwgkXXbm0uRQ9Z3mRqK4389J89x5QUQjGKFCtQRDYbGlZn/HJBsC/QZycZAu/TxFmkG5YK85lwNNkGdfxlIZLkkulTZuDlJb304dUWN7/G4XXUq7wkWSbKm41QW6WlhG9cGev0TFPUSXu2wo17Yzg+agN2EaGvhLy4PnBH45Kb5n+QNdozrDh0i+QkhquuE89MsZu7vJ1QEd9ZSxxDbPgBiFonw9UOmW6wLHu6yoqXYuEUZzs2857iYFjLpjvLW/ldynBr4t9601tRiN44q2/jlb9l7VxRre4+16L/4aoC2LuMkZsXJaH6bvBll3m0fnHZKoYiZk8TtREtOcDWcMoLRxmX4O1U3IfItjM9PChKybq9Ziu9kgyfy789hh7z9Hnynvq+XHT7tRw4n/EpgNqERuuqZebhojHAkTsFzLccgnLTLZN+ZgseJEShAFSGQnPdxDdyY7fuqV7ZTSqQED4N2jZKVNCIeo7c78qq/XK7QGOl1S1/kTLQ4FoAjL9gx0U/iTsmz7wQffYOpsnqTyFEf0ZxNvIvEiIvMCM4nmq/uXSxIC2licsbqze85pK8siJ5evCld34JXynAyOMzxpAx+xKBJWdFcQdH1lDdmd0mAxMrcowoGWo30r4xvi5a7lIb035j0/NqK2+LPeFjOs7e6mDfgReME1bLLMf6CUFYc60vJ4I4zScXbol2E5/8VKJ1n2ZkKF1WzXIC7Q1D4t7JWHiw7CHeDRF0RIUeqr1YmV5hIRuSEXo6f6ObV5Ok8kjCXSva5f/AJct9T5po3bvzzH60ZNesMjcY42Wqn5su0AQxYbOjUD6rc/ezZGhO4M46z4KKvKx+oHLmVjQc+oPDykuUq7wK3NdgVPGeJJf2sOab33KXtFGrWWwhqyGD9zipJptSmHu9kgcW2DcF13qJnDC1An8aIRIaNybYoCm2YcWaDP2ILG1PVHgydk3YWC41j0GbZ9u8csVE+KX1sUp5VyNZ25yJ4CyaeTNY2M2k765iYEFHtCARF76xrEQXQoE3aFK3ctNiOXPPy+btQzefN+ATLRq34WYOTCeU/AcIfU1W7E3yJKT731nFbD5BvcMNdVhiWR6AETrty+9I2P2wOjuLQ7PlawNk7Wv4GNgLpvdRKybyLUO172aXvPHt198ar2V+fvBma+xbUu77N+hYT5dQXag/RFWq1nJfK88CJVYVwnBNAy0I/RJfGt9c/2JC51WNcvwEncjTYzV5lDpbzca3iWn9prF10MEOrR3NsjxrX1si0rmI/VRU/xNFeHfkqLvJi8B3ujfOo0mI3W3P5ufPEkhKgrUbZxAHV5UFtHbMU3LNqXB9sO9clSIfIlcS+q80cnTI3NQV0dfBw3juKjAGMIl1uCSKq5M5JTAcKN+YSMHkKGPdEMM8aODPBixZV09KNPHCh0iF98xcu7+wZLvEPB2m2eTIdAznXQITHCSyq/wyVo6VSRY81iHusNWeDxrk5bwNVLMBgtG3LBHJ2ckSWOOzCDvTWOGdwMrKhsYNKYZarsDJOgoCNegTxSw2MzU3/sWCXdTU7+Se58cD0huMZFEiqjcWjFl3Sk2e1+UvZ/Xz20sblAs3M/IFcBSuVn1i04DYAQor8ns2zn22UVbfLOSzY5C9I6j2TA9Ft8r775FaZDeFmtDG9zius7KhyBFlyboypVpD4O59pX5yIcIAAB2B1nIn7+AHuxrLDJOKLgFqaV/gOGpAgeHgl/KOuDHLdzruJXJqt500HHoLyv8+sE188pjT+wmCiMEkOQWuMH4RDyYrUnD3ZZ2FgQiX23NT9Z22u99ojRzfIVu23ro4pRbXCAd3inm1byHHODvarDcmHVCX1VUw1c9q4S8OdJWhkH0vpB0FISIeEMELestj7+1w8Ci8JF3lT5X8464woTtj/dE1LXrFEyca9wAb5LbkP5aBgXn+g0IPkm7OfEIoKtG7h4MA1YJ7SZ8DMFBwM/mrm6GvCnq60V/B6mhtzlL4/MePTTIP6oZNoIE3m91t1yIZhXef+k6YgSOcLJ2Z829gCorN3q/KlYNMsy0WPyv5LyqOHbQBVq1YVew21dsu+nWVuIGU12K4abl3YeTD2NQFTd7hu3iLZX9qUoJfIj4Zv6g6ytWP+jiMsFN66seksfkJPPsfIENIR+eEs3lLdEKyIUIMHPTTBT0xlkFgJqj/S4O//tBWt0f18buCm9Fz1vewgYSpKN2yQeZWY6aHTeSucMrO/5kUb0bf4sfPq4okmZypjikQj6kqS+/jzQaUKDiEJjLi3eH1A6cNVj/CQrdEv0V+KGSBr7elmTgdUub8362GIjo999LxcjN8Uzb50N/POoF5UwiYjfrnNTwd/F0A8hLXWN8hvm8jsxtZot13WU8Ok+JNd75VPCnI0Y0oiIKkW8iU1LbLVKtj140q+CwXuV9GtAA06e/Oc6SN63lcSL76WphtMS2wf7ZHxLJITkxLpu3300j/fpnoc/2hKfHXAAe48E9b/qWtk0ZT8cj94LWf5+/Y+/dvM3BWk4pVmkRFKQWFUQ/eUz4JkKfBSOcpvzEin/g2x0izt9H9j9ub0ZM07DBamSMxujA6JEFugSRtJ8g/+cS5fo+rOV610qbmT8ZLeaPStAR/p9Mo/xT9y/3C+K6r/R2/1hv/ZhMZDHKSoJjfC7SK8w/QZQBGz2daFLrUzs+QT7Glfy7DJG8lZTPUWA7/Ka20BgGBLXh6l9Dp5I2LHx8/fYz5nBTf9HcIU1VAbtzZaVBGhV2bMCOqwQOQmu922AslIzWn29/PORA/BRmELVQO50yGLUBKgEVsYXcLpjOo/tgC4qyHVYne9tLZ0OxBQjt4/Rc6obAN5lXUY5gAT+WXiveXvm0n7eXF06tT2wJx07pt9Ld/S6+EwRu/SbqZxqhqB6d1CqIgkr7QYOeA2IQkavcYhMWj9ogmQQYgnE7OoDRR7yNtaqPLKVU29wvaNAjexIbK1hDEEjYI3GyJ65xydPassMNRArtJIRXDR7HmxO5o35LhQBZV/W6jdbRgtIt5VwIkNHHm/HR7pDAPHawcqWERbIn/InysHyzRlJAzcIn1rigUFWbGEcFCqBzBII/7XjFNgm9VjAIY7ycznavUvZ+phae846P3lliNogsyRLD7/hUZUdVdPyxPmanF98l0FkJjgFhxZsLVC7KMJGvEfiLLlNK60fosxQ6Qa/XKtgA5OK54K/r+pu9EFQCbXx3ddx1Z7DZ/tofV3mSZ+9iRmmCRPJ4FVXnbUFsrVU6l9QslImH7qIPzKJkg61cwFtg6Y6wp2UE0ABub1V62xaBIGS1wnLI7jVuA0b9Ap3tByOOWE41hWtTr7d9WUx2Zrf32+0dDBAtPBbf1nbIk3bOk+XRFZDBz2i6oSuXQrr9lCUiiuBm0187WKV19fuCiX/rgUzBQmHTzbpA9lP+ybjw0cI1JHn/NiUOhY9nIQrvVdkKewdm95eePblHuDn1NdkhTMBfHe+ySeB8LsGZHK3uozmQBkCs0H4KFEEPGMS5vp2a7yyU6Q1MSVNVREUrTdDf8Na9SC6ZoOglQiWf4GzSpKgfwUB2U2dQWt8s0ddq7RqojQ0Lt65Su1owkDNXqUh2yD/65Vwd20wON3u68bRtY257jrtKIdlXK05LVpdaC1d5qi6BGtVxqSuStVVFFF4b2uEtsaKw3qqbS0GQJkbvwNcPULhCg0fWJS7kx0g1odOHu4kadg4hZtYnZhUHx9rSr/oocUyZc5pCj/v57BXvjKY7pbEo/VA9ettNZAKCaYA6L0hm5jMe0XzR2nk9+lqH6D6vGUtNv8LrYs3vfMnzAht04+LeHuTDCPzrQ+NdhlZMfQ6N92ZOSd1J5WkgWoQCGfjYJ3crWFA7BlyB/eEk4G9db94mqV2e7zeMWt8qOHd6dBtLH2JyLiCyC8baAJAF2isJSVfts/YxqdmkXwxRDLOZavoMp9qUGuIyiOkG0uBKUPvdJv2+BxVUpSGdO1GstceuYouyBAjzyPRIAczq5eCG3keTKOgeVh3fFX8Lrc8h42xCZebZls5y+UyjUF7um8lu5eRGRkQv+M7qaE6282nW9ti3uzWuWJXIe6uk9Ddx3FmRLPhk+T5GQnA3XFqC/QKTvHktxSD0wBE5cNxgTy6E9EKfkFRIAfrINc1ZAgLkeITwxDei+hrlaCdA00m8qKkDBD/ARt44qgl4zrJXCu1Xr159uCMRlDmfc5laz+vLBkI6W+eU0Hk8XdlcLxZibwcqaHtPH68J8r/eHpH5CQ0qMdLWhrN4U+a7YU3jnirr37DuOYvdYgSzspE1Hjw0vkmAy2mKL5uK9mpgmr9qZWaqYOgCKS/t64Fr30kAeSb/IqY2KAGo5HuW+bAdV06+UN7fPKXRPP8UcJvW/8Supo8hieatsbgcDKo2aHrwfDgbTh8BQzdlcYK7NPbyOsRF8WFik77/sgZNDBdiP2nFvgzrZH6f7QXqGF/neENAbpC8Yn+dQtjyw7wEcnBzp4gKgutHw2aitFW31pmCMPRezOVnYUcTw/hiPv3Uoih83QUxGfRgw+oO3LPo97oXrOGjxqvPLSzWkrBKUIllI+tIypr+sTnKCb6XPNThViZBJ+t/9i5j2t4Lsa1heBWbJPev2uW6uaek8puvmbyGS3EtUs/ctNWPqK87F1wqBiGQAFEvuqcZ61jhWFZoOW2/7fexTbs6bHj/ilcheBg45+CPNcouoADaXX8JovmoDV1f2kfgTY4fvdXFH8vRLi6GG+/4aV89T2qqKPZYO5Z0aCL2d0zOZnt9JwYwG6EPBoS92CcOB4DkXH7ai2yeF0Q7nkC9vQbqi/qTHnHhHLptPi2eTq40e4DuEmN4lmH6bdPOO42n4ZCBTZFS1IbOmD2pmSFHEp7mlTkyKokV1MB9VikoiNA+Wf3NCdkymWRH/FG50vdtkKiCBKL9QxITTZ+79TubkNU6f4m6Wi5D1evnRpRXC16lOIZGr5l7TsbAHJGqUWPEJKPum3qcU5HHDLYrY0BGx3K7B7+1XjDltunwOKpiMMiXZxIt6AtAj3yEX9/PkdLOu1b5/vfvUCL179FbOpGmmSYyS23vhectAm1t/u+P01Zd+3jylzZZKJcpCf1iI6u/WVezaCwdggvBuYbrf/3AAXJ9OBNWwzOi/l+SuprdpQhXniGQ4KAVmUnGkc0/gGgToaMz/0SBsxvaFu+JnOCocEyPTkwG+EpQwihtXZH5LCDOdM30maq0xJWMyx/VeNLNquDf0eg+4EfuuHlV0nvtGnOgLfRiZ2LZ7dZZtEekKrAlcRJ6mbPRkaMCNCbd7bdWdHwAL9YGWZ2BJLhKbAKDXgA6bsAg4sRmNH7QINgmBAYf1kyxg5i2LAk/s1QBvLe+B7gk+Vns2TFAfpju89wbN9RzrkzXLMEqNixfpbcO0MTlg9wU1jibtf6P2zqEXpeGZIK9CZIrvcPaS6tDlDKgyTXO8E5pkFdExFGJqH8RQJP4lDOaAYwLk644ShrJvApHhOhhv31Fz8MOeBgg2kVkmIY/6tHAGsWxIki8vbXyvWmGkK9UhpmZ7w+P/PY6CX0F/u+we9PK2y7D0afhw3o+FXHMfu2YmFb6HvYPZsDs5IwwyN4zbi+TOJBvGqi62gM+YzBwya9d4bhOlEQkZncm8lbFPxcnBN1+kRx0PSUFMtLEL7A1hWsiwks43fyKSUPOWF8Q0AzSzw+9DtrSMBKTN+cHNQhJTtmyyHGpeaZXi2orqC/xjJuGTmi0Lt318ZpwYCOgN7xIHh+RdP7VO6fd8PHqVtjJvXnDvhaDori/u0Ss/j/dmueznV+m55lVUubeJl9etkgb8V8XJREqwGF/lzK8BkegW17pmx8Kp0QVCaXz3AlPKnBGcJiglIF6HIX8mR2ftM54PXXCi9kbumkFWXb60cC4idUMMRwqyhnag1iVRlLuYijOt6U/PVWH5HtSGa9M7/+H4dSSYwbiyUkB3TDURuq8yZ2o5jfW/sjU4Dt+sF/fXdlzupB0UAkEclFPJZ6n0olyP2FgO6B3VmC1LK4cfkbQ7KDD3vQcWlvUtGqMJBbntVfUBXavD4NkxVY/UfKy1Azsh/K7YULdjIgD3ZiqCu7k1YBhrESyueuF1Y/NYqLPdIadZqhecrdsCafsA8rbSkrXhv9wULSI9ZA6OHHttd+SM6L6zk/ybfMtOCyY7/TO+uw9Wdbb3MdkdQw5ykXNbzySAEozFrQR5mmK1pf/z73BLiSKbjaAHjtXRgDUT13i9dy7eqIgmFdfgIvHqytD266VDDf6hiNIteMPHPR4kK8oBCRxOJarzeMm1eCr5CFq7cUL6mf4QCkdfaUjX3UzU4pG8d/E/ULf25nOrTnmCYsFr78otySxSx/i0UyAfsLOAkUYJ4hXfccy/mNUNZmMpNjz9agQO/WV5Hpk02V2Iw7gTw2ftxcej9kTQaxv4O28AJiatCywCxGNo3n2RGfMylJup07hAk/Ouq5dn0hPF/x2FkYHFhlD7XcupGBiwCmoUDpFvrd7wiYpIS9YQqt7FWNQxsmNqok8QdeclVG+wJ3R6L3bpYV9KY/1u/xOLAPVClcCiYtIzBgIAMRF9n8/OLZlO4Vq7brnE2DhLDiUOeWgHGD1t7Pkji7vz7+/2TXs1VwSC+uJXwnS5Kjp+xbaANjFlYLOORT4ts8uiTRGi6m8dguxXwep2jlttY5HxnRdg3ReqgodOrK0X9D6W5McHTKgmRJQFKT42uCbC8YBER+tFCmfgKyoBwi+MxmDgPm3C9cL77ulUg3m6M9R5N15s+st52woZXNrR9NbiMgEL974w2N7ep0FXmmtX/Gbpw649IdWHnz4y1kdmFpWWCvcGtsrHFKQxMnZNYi77tF2s+eIzLhuS54WDOVTo4rxRX/s3mlJGcoFNJndjOiWLV93qxXR+rzb3wVOYth1gt/80vgOTpVrcxBGu85yFtYBuMP1G1uD1TjpuEAk9RgZYsjyD7Jb7/gFdEOrvo39nH5wFfLHZzHIvE1Vt0CECHui3+BzTa/RV0XULDOM1blhl83piuzmOxBWWReNRWL6aXySaQje7NVrpaCEu4LmRYJq3btEQ1COyK3mMUo2I8nJ3jfZ05nnrimgdZ59iDoMkymbrN2td8JYGiW+CbLAJKVHzNs9jZoc5pXbKAaF00WLoeABkkEmTeEWghfdCJswG24WhkBmkApRVFTqkFWT5IebUYzub16AE3FoOCnTNb5n+5i9AKhhf8O9hyu7b9NSivuQSuFsliwZircRV009hr2rD8jAVfcUymYIbhI0a7pSCsScAKKOlvdvT7ExTq8tZq9DGTPgt57Oykw05pqhvcTXRDT6d7hR8cITglAT7B7kMO9dsSs4VqHWQMD4vv6ETJpDsGthvkavCrK34peYzhgPhc73WXUkOafdGujcykXglLpfAL+eYzb1ihmyncaPiBeOI36IhHKst31/mKZu85IfiaPm3ZTxlJizPyzT4FywjnWdakA4ZEUVgHUq9tVIOR8xgMWBbMVbA07/yGAhkCyP7RIBZ8lmueIdYH1msCBRJbLJgXyQWLXrxY7bEr41BHhcYJy/gOGzPXf6CQ7D6bIeKDD1Tz1n9zaTNOnsMSfXmaS0yIAnHC3kLxqncvYfJo26ybGRRxncgLBooVJvUAgDTRwtgEvr/vEsHn/46hcsPXCGzVwwAEQOCcDszCIbdhNcIBKAAf0bUrawlkiazPGE2QeJcV6hznhcORONeolbmcKjSbe3yfRu3szaC4287tnNcedbsx5ibWC25b3Svo9pM2Xj97cHc0aSaYEciyCHKqm1XE/SikbPMbzPVl7ojI/adejuHOJr+ryCFEZG0l2GbuhuUbCgAPwM8fbARQ5I6f/VqWaF7LH8/mmQtMm06Rwnktd/dkwVCk9tK6IpnzCWxw9XnRv5+YJufuf5HRSLLsCe9bF3Vb2D46lhyhfFPgVKP+taBhB9LakaEBFkpheTZtpJSEAGZgoJ0xJe+Ln61nWMDi+ukl/NTm1M3KXwrLa8BaU/VXDtf8pAzz59xR6565F/FPOSzwT8xUeYUSrKod2bf9SA69jmhs1vgOpGviis5jc+atL7gs42XIEKrMG5O7/s8kt3TeQ0N4R2BaRE223gSJvUBmoZQrHUcNgFuKwMK4PLxdrb4DHS4yzaFkGxXNNq/XNMdm8+/MenflpYXunGl+/IuDhjW/XbD2S8g1w8N0qKcyrREOOxpXdmG6O18SCbFRemV9yXzP6Nmlv8ObgXy3cugV7BTFCD2niCmdOxCd6iVgzWsyhzxsp8+GkyEyZkmb5ojFQknAeHbdt8Ajax8hwb8uELnzkWuTDuQnrn9EfLWiX1mqbjQgLThWOyxLFehVstDUvu4wrYINGlAKz6jzVN7RPEkUrdX3vJFes7KZeKoTBWTSD996C+sS/evH78HkQkanm0P4c/+LeUN2D5NQT5+w2z6phIQnCFsovjO843Yae9f9mi6S6FziVvaayxo0bisJE/3jRQYznrsqr7v8budk2n2PiTh1DHKAFxPx44bYQTrZg2NWFo/vgYDXtDpXQarSm0rhmDpNRx9bH5DIllQHHJjSKizptJlgwPCGhKXdBC7hKEngRTmn2Mwo3cxEO3KGQgSfO4bT0P4tWNx7LjtxEelcqgjg7aUAV4mzN94F+D1+Z6zKQ8FszA5nQR6L2Fp3n8szvP5VWlSZ6VesyJwV2liSINQjJEFMqQBmZ9dKOK7hLsHaARFkfv5OFdaXmeq6zAuHTyq5dhrDPWKkBWZ9j43ENEvEMB6wgtP1sIs2Zjkm1vp3QsXmV+21FloL7CsGrPtVAOxHrseY1x6NzAtvQOvE+PeaAALBxLk2T8VhjWans6wl5nn6xmIHECgx1bhQkgUEEY+m41AVjXJfg0Cq1+E/RoNm/qT85us5uyvz3Ahq7Kv5hvImGYIgP/pGKVvgHiek0FYzoYZWXUUsdGKwBbcjM1B3vmuWXGpmht4pRNaVu+6hWinBwRIn8qkOaOg099YC49UAaKCPJcqAcYgj/OVajIg9szDL3WfzBNqstC9dH8iirsHFZRl4HoMcXNluThAZdJIFgSTHyZyEFRbbchTxghc/UnDATg0mSYCpSxP15IrTGYISmdZe+c9nsAAYbapP6/V6JGnBT7dLoM8nWCBJMi2ENovhVLcbRTjGtvE7mouvj0Bo+hZGXyBb1CcASjtt7gMk+fngvinUk4OvCduRvHINmBQY9A1tlAypJak51byl6tDRyvw1owchn4ZjSRq1rF1tSStpWBjbx1lPEm2Kkknd4Y5MzE3AOlHheOiRRzlZiXTpeKNCMZA5zR0qzxDrpvxIne5NI3VZSISf3wKcukVIpBbVJwVSBFk15oUY+8LBfGOb1Hjf3YtWxkLFt6oCSeROqntcPZicbySnwIbMlE1ZmkvsqBN8+RtF/eX8zGnNA1FMACSlSaj4AYEP6iaNgmyy6MmuTbt+nXTpgnTbOO5bWN74kJilZwwINnj6fhAo5gZawrN9UhKwjCgM3/GmTn7eVebSnBJKgbBHIri/G+GUI4fT3ou5KXGRb7Eo0wtd14Ug5kH7t0VYegBKa2IcRy9g/GsyHIX0NTj2Ta37dbA825ptpheOAAFN3hhD/ZUeIsIsLM/2pdspR/pJnbNKwReiknRolGEZh/SWfdXVEGr0u4v/Zhq++uCIx8OiUj909mzq3xJBJml1uMKx48XjR9Ayfm37P+yneFm3js2fwwhd5SY8CUo5Yxi/QV4bcyTc1X4aYMOwil3330WKlJwvW8FUPNPpEkFa6Z1e4WE2ffnjSc0l8RjnZbNxHnTxUC+My0M6IUVWZXYeijZ3Kuao/Z8fDTJJWZOgauQ9X15tTKto6IO3uDieRcBUf4dhXG0TLZ1DHg1FpFBnT2YlGSgruNMjjXRmLhHW6z1B9Z9iqr466n8A6flJaAkKjh1g9H5vsr/zP4TgBFliYuHwiNg1UV/fDePAlY8XphRDd6LjsR3KfBaHIiaqNSwEPAxj7R6dDAfurawncuw3e9ARR+qDBUPwVXak11wlCNBEzuDDqfM0euYYc6mEzu+/NXnJhFukIhAty9TbP+622ALNRNLZpG4OglqWYx+tHmoJYMyiFiJc+liCN2G69JMWuQ0xKdMLTS8H/vMNfI90TYcXslXGa/ukEGz/FBsSxuUsUswWKFVHRRJVG1nkW9bheOsgq31Bn2qabCDSqZQtJGypkmX3Xx/XXFHgJpVW9kOlmpH6ljP6+dU0zKkdWWDQG3c/s2KnF6pqNKAE0N3ITuEvz9CUOUExaGCOLXhIEV3CUkbnTbKUAD23bPM8ci1VZ7cnWVdMjz+AquuUK4sIr23PM6WxfeY0uGjbpqv/d8A73j8awYvePYsaU8HqXCyL99prY8cIQwF2JNKUxu1Mkc/qXSdShgmbghrPu7HRydxyTuHKIuJeNYuXp1HMsjOe3Dp9qF9l9hLRHQJvU1+LQnl4Y+vnGXodHyw4CaGt8zYArfAPXPe7zeU50sa8jupGI92DEYqK5gjSXOjzwzZBiVsa/JmCEPRlvjACBf4auW2DMt3OuE4JfqX1oaWcF4uvv5GIRcbc1ORKJMG4hE4bBn1gBVywk/BgFRGB0+8r+hK04d9nfjbUYnWLBIOCHzZZ4uGox38g15wPYac5eY99D0UHkh23Ltb78R6Fg4MpJGVWub7TLGy3vuuv49pmKKvpKdSMso4Ya65NX36v30qMwz8jxpTmgs7HUuPbwaEniTgPFRx1ulMu3qrkt0DlHwjHVdL3S18qsOkxxWDxYJhTC2KXxYItTSkzRUwPfs+ptTcKnBju6JRUpcl+W+atHWMcYHLSekcjjXkPGuCxi54xZR6onrocb3O7Zu/GFvbTe6IKHt5RBqYksIatmIU5dh3NroW3oOYUk+PMrGFGJ0dh3OBAeqVL8sPx0MFGIlKuWPxOs9DLfyMzQ83qy4ktCDFborLBAUplGhGE8n+f1JDfPlHURqp2EKfy8u4obQ/yOD6busLROxm66vIqdWwdJOOYMPQnM2F2ZEiMX53KMfZmnUcHDEY4zd4NrJ5QJcEW2j6uEjHz39H128XPPS7tVcM/9O7YSck0Yb9zbxxMDaY2h8bZ2g9etBhzzUYfhD4t0EM4ouIGkTzTgroyFzZ1bNhWCSZBjLPgfjtB/gFmFOE+4JM8B9hvOkmh9a2fCFfLz30+kcCLlIkbHG6sEW15hwDnP1q8bYu6YHGXc3RGmAiaGTe1UE7YXv1D1GsdjgzBAdOoLu9EgMfQ7n3fenVf+djIl/FMcjQIQMiHVN0rU574ZiOalCRNrO7kHj25jrMnAeBDZu2GveEK4L27lpE+M0+wAjyNadB1XAgmJXmopwyBSC2cz7++aUhUO45kxD3baR/LchiQ22e0MqXeoWpea9wZGFQFyROacITYZKymxMigUYEOJsg0IaF48VTErC3PkHXg7cnBcOrRF10V0sSJaKduVUzNu/jGMfIa64HECL3yOmrxAHaFl+HC++32XaHCNOduMGSc7Q98Pf43Pe48CU2iHXzaQAeAnFzMpMnrd5HNVr5Ey/AApC/DWiIyihCVjfjKNZZ7VcR+OLrr7GsN17EwRzmuWVTYESFoIWN5JkMM+XrCnirLEO7ckVPnXkEY/EEjpK6oZ9EuJcsHCt/QHLct+Ekx86piGTmRz+gMsUBvqqqSrF/A9NAWttGq8pKXQE6693driQT1zFa2kQqGmRu1vpKi9IvSTNDT2Ji1YJoLE3AqW1kzA44xEvzZxtj63Hm8Ird1Hj150t2rlqJO+FNrpOOH9VTiym6f5fkU0OELiX6Nm68tw+6Wy91RE8pkV0JQWLqqnqlsrnt+YnjbfkZmgWF6QU4ssJqldxlW4lWVzMIMTmhlAvwZQJ0dq4r+1L1B0O7feVBiupKQkZOGqog/5W84Wshm+K5Q9IlHEuisI4XZPHDS5Ih2DL1+QQzlxH7Vo+MU0PHnjvpbqwaVFhBSd1rCM2kCGEw2O92ssskrmSu+su431eXDjZ7oom2GFWAvAIjpb1GodqUZBk+6pGRq+6jlVCX1mfOcZLESo1b31GBc0DwNbCYxjBerk8AvFoSMVAA9A4PdghmbZTzgB86D5YBrJpP5DSdUsnQiPOgwFKKVbqKaxi5XdMwzJPhH6T9Ao5DTjHqtNE6JWozrdXr8BMhGIwsFtfzlk0Z5QG08tzhx0/lJDE7/ybEzybJnJFVViCWsXgvsdyIDaixoRCO9N7MDP5Q298VrRNHuPz8HHc/B+A5yWQOxeTxTZg3RmQHetyJHVHIb1U7LGBWUXZzDOKB+wtWRsbElNtc2eJhuOCjLyRy3u5Je71xBGr+JJgmpL57UjGV6wcASEAuAoHdPb9QQoN2vgK9P+HFmqq0R0EC9yKu8Ew2eikIuP1WhzHUmvktkEjTkAj1xRv17LFuO0hp7jO8gTcYZzHv4oI/41IxCnGGEKAgJHBfBwXXyTnFePer9pqVCVGqd966bt0+IZpNDlZ11fCELYB2qnLlbzLY0AmSXgW5u1rQS3DtxqNx8NyComnW4cUMC16atBaGFdQJ4SwotxoQUAWtz4cUx+vN02M6T6cxx2vSvc9aB5AdADIVa4UvgbUWLn+R+yOCTmqe1Yht2CNP0N5HDrVmR+0rYG1mn64PuPvXpr1grKnjHWIwx0d6hJz+zp2B47IR+ndJdwoQqYHBKmK1WcJdOFRs/BbQjMDwYbUgboLMtBHWQDmtv9gQpJyVStEN3RD1SZvXLgcam31chqe5Sxj6ybY5WwBjcn2TsMtwZGID37eysNoVK/cPzAROhjCK11E0235jBSq1e2WuGuSd90EKoaJJ2O0GPhy2qGkBDgQL0I3k/5L4Z9FMyQVSZ4lXbGdaQ6Y18V20aClDQZnBztoutpaWK6Rn79PWs9XnZBqh9jftiLYF8oQ3aolykiBxoiuItYP49k7276lZx3EH8CBVJsOKsds65N0XNeNGKw8ZLivUCkPGNyR5Dg5f9S2o20TKEitmGQjGnXh+w4xXzGW3LUfWa3ubUhPFcs1TIojwuBJ79lT7yQOtctobyFZIT1q/GRG8+hCoiRSib/+Ehf6PMZMeAONRie57wrOCs1o+elzw+KT5Tth4ZRX646R16zD6p6d9tzdxV6zVmqaHbdi93/ToS3VRF5GN0/YPe/mcVvvkLfWCXcvLeenl/gEDY3HplpfCYmClKkfUqpgBgXNGI6n2LlFcek9PourjWMr3OZ6wibcp/1xGyEnPbRt2rBGLX636OB8V6YRH9hwRJyb4SfFa2v2ReRZ6hLyhF7gDlIqHI9o9mJCWEEJ/uGj/9OiDC3pN53u1XjAZT5MvlmfIIYeojVXwAugmBRfyiD3MMsAI+1WWZcMaLkOh9ynd/H0PeNsaktkIKR1oPn8n8AyySGCkVKIrAuygfSo4s/EOVHyOqIlrBtReFDGMNkZWeXplASNu8lxnUty4jAzORyzdYTKrWjZ66hqHmeyPxBk4drEoZkcZc+wa9HXPBs5G4QpjT3nLA7ksyy2hd0WwZC2qiUwcIieGkF2PpsquzttwiBrK3ez0YO9no9toIcXDwFQzA4d6YOxx/X5EUhxf9xWnwVg6cvVqC5gbc/cccJIw1hm0eKPPCpnymAm/5yxpNusAxwfy9FSkeCVwtQHYicOVH8TvTjsYNh2IYs85xcHVczJM6Cqzjl9ZozmAstO7eSUd/lvskiUnRN3EmRU5R5z1JDNInZoceCu+za2DteljhDcUT2thfGsEfwGNrE75IBsWUnlMFhbvs7NWjeuCuQTeJWr7xL0GT9F7K9L/+vuXpjGUBES5/jes7Pgfs6svd0fUEoIxCGKFFu9LnKs0vAhYP3poIVe5M7GkmSwVcksOdKWZdYBlDBHNRdHxS8pw1km/URG4FS1c8sl1berhXHAas0c6d8vpKK7wZBY8GsUeHQqzy/Uqkvfrv/2vuybQQuFINrxmyeut+Ds/thyPVkHRXlXTOffHmQQ8Ufq6EBFp1EVdSPbeacSnsNV9+7uY0foJbfUyO6SVwtOMJMS3hfeik4p6ETX82sD16jSlrqmCcsq1T1aWtxRexnU/mVHGsPZLeQlxaAkCuc97vH2L9fFipMPADv+pW2r8AwEVP6nq/RswxVsOlvckTWknoNPgBzt8cXSavIRP7hT9HvdsV9+vjynr4OrRrmApha6Yq6u/35Tht7u1hqFs4td1n6RaOksLVmwoZHa76H6NHeGqdWMLPA4gte/AxPMlFsorJOmimQJQyTkcmsy6lGZZu37prpMc2WKkmMxqeXtcfPQV8o+ty3liHLTV+fNmfO9SRRwszycRJoiGk4qfxRuKwXLPaUdBcvdjDWiFvhKclAx9yBJpb9QZ7iSBUc8ZaxH8Jbq6WLydTmJavFnL1lgXYQLo4qFzKjVH9jY2DZfweVIGCUzjuzTzZ7yc5wYQtmPGNmAgL2AZhKRJdJjzKY79obhNsxF2eLKt1w4kRPZevgsiVKkro2CTZFOVJ5YDoDqzmelRfzAwevNfqSaUCOxLi38NhJsyw79uPMjD2ugKzNClcB25AXOTxkP6pMoGI8nDqjFsk18UBrM8cqSycB8fJMh/dLEUQ/1zY5R99kOpkyt0jE0ViHMpfPiF2zyX9YtREGhfSyniJDWojIUejQAVSl5Ws4GudMxu3pUTnm1uae1JzJVHhC2gh8JgLYJFB9IFI897FeDN/7p2jnL2DUcI84bfzkqhAEN/hSS3xl8Qb/s2LjXvt1Xh1oQvVJhQmHXqxRyQsOfUB/8+pG6YUMyWhPknyFVqmm1hXJs/gM0RmuTg8ZjexxceZQ8j/LzsN+6UzWmuvMo5MFe7m6uRa3c7ukzMAJEaATUDnzmIKIm4pU5fhFBJe6aJVJC5oO5+7QTpozzZLv3F1TGC9TUivzMIPPa6ps3Hvg8MOwjO8zndk+xgOCP4RSRP1MQ3GPAyuEthGmqSALDIGhn2IbaNEciysRzhTXR72NWB/AzpCeeFzz2WEj9csw7TdbgaNMVQEcC8E6YvbL3YVWenb64yxITRFp5PUVerLnmN+cwVu5iOwJyd/Nu2eTMWzZ3MpOO3fN9Uuupy86+iHKrPr3qutlZeW92+wM5AhBAlO4hdVEkuyy8rWA926KjgyQb8WFkHiJtIhg27ZqiZfxApk+0OkfMW0IbWbI+G2nPW7J63RXL1n/oW+CUI0u2SOXnnxF9B0Gf41W18INkM72pdD6q7fV7qUi33V5oS9bES8ef/7ICaz0xFPRnhMzz3F+LCbZeckn+q4QAukIhtseI8HZ8NfllUGK/jV5I+I6Vvx5F38dB0OB5Uhai1tbgqeppXs3hALgycvfg8Eiqrpr8hB838khl4RagCMqnO2/nVKmzJVyqIKN86UVINFeii1YYkxogD6s0ecZmrA2mrx0r+tnCMWnL3F3Uo0DddNl3ye+aTvD9XYkEVxz0uMj3GwjZtJiw8UgmXoEkiP4HJRx/2Q993cAEByfgU31UKv+TjvkvUC6OClQN5nXLXwAKk4hDQrITrigrDZh6q7pJP/7uLktw/bTd7TkcJUqABVL4bkskGWHF1dC/AWW2ycrXa7DhXAxWiMXMi6uDLjWh7UIRPknKMW9p6mFbbYdFQUJQBHwXb8+iFkByZJKIIvZQlrTGiXiImztf7A2PS/iKY7dNrimpbpLyraOR7DQIrxu2OQXc+QxyeeET2NJrhvX8KXuYz6lgOSPnfcYKEERLegZXFiJV1iR5qMLWgvSE7u6unUL+6SgwQpxOhzAexbuCV7BFTYZTwsXwVM7NTZITrOxbJEe2qUefjn/estPufBJEbgCj8LWKhjiC0ksHXVCtkK2xPbDEht2S/BhAaithpz2rqMoeFXEMKw2EPS2XzT8j8TKz4e+iZnzyltuabgXMK7sRy/z3WBFIUyjOVm5KWMzrMYccb4rn51+YpeI+bDrO97znBbBpli+TP22HikK8BLn8x3fzrjdn4s2kCpNLs4yklzeTCpZByfzhLRBRGO4f4BXeOy/lk1WTEFAOUcBkhfMuD1aBFFzmNMBtmXw2ojLjMCvH4b8fya8q0LO/DhzSfktu9/Bgu3Qru6bU8D8fjYEFJREYIFjQeQ2usHaHHlXl98EwTG+7xmRR26aDrogJicMlqO68RaudJZkMB70tuvKncstK3LibUpvGAQ24EeonQxW22XGsZ/MsudsnobdXA+HFydi3G7rTqjnIKFWgzTWaEAMJtkJnQkURQqp/pG88/hU5AwqwO1aXIX5u04mUlu9itds7F1G4B4wKXPTewc0usF47M2PUKbA7f1RC2+3hUyP/M0iIqzKMnC3pGvRqS82k0EN0f9y6PohaF64grbHv51ez5qUJ2qoHC7PjKr3ahj3j0jczuW3OcUU0SHodf1IFkrvfRlGvh0YpyRqrogQ1MZ0LtyBwbc4S4AQRnzzdYoR8cE+vDBVG1bTeHKFNfJqgFvL6RWmIXIUtH/yLc4fBip3vVy18KIdtuRxZLmOuPhNt98BqhyOBiXGNnU2FyjEnjkqLp1MnWYcjQDFGZwATtzG4h8Qt3+1BZSIxKkiX9+9ZU/+vxiFsBfkbaPXZmhkadQjK2Sb05KU9w/eRUpSh/Cqof3uUSwZAF5TjIQ16EPa/BNu4c0s0gaUmCNT0YCOWk4vyoWqJfoxOrOEIh+8jd7Z74aLMvR4/aMVtqFibff7bV1+IV9oJtC6aFJLokXS9TIYJUVQOyimOm4a5KL9nDSX+LD6piRyBbcmrfzCIrqOk8gfqjTKi8GiXW8Es6bwwtcaXcTHc7UzmtL4M3SUjbeb8pZ1YlIRac2tclXJJhMjqcoEEUc9rTAduvY0Zf1kTrs62y8Zqrpd0gV76J3vSDdkb2pMg87i8Fvivjyx/RsgwsjUHcEdYSJzYJxO0IsajPMNMEfhUaFJd/PYi14vneUKmuIwUVgpWNaQsFX+rkr8heOZR9jPSTdw8uRMZZKJo6anneCVSsmLdbjWiVr1cvo9xK2Aga7U/pJ8TaGKizBLzC4UdFoJsAXbHp7rHOw5Y8xStY0Cp0MOHN5Xk8zHoABkkqCwhyGnK69RKpycA0C9IcIjpn/fVgjQsLaYAznCJ8mLRlmjX5M6rZig5lG7K54HzbdGgNK6TYSg4LXci84YJ40AXvpa7I8ycwp0M/6+585nglCbx3kdTlvOzWKCpbwZAC0DbeZU14iua1wx81I7744slzs6mbzNfkpuAVDoSOcDn3AtG7p/70yGW7OQSPtbO43MRPYmIa+SfutyBu7YM5VEDkeIWZlKUp/4bVtllGd+/I10xcX2IhHHrOT6YXRlna6efGteMg5pS87OMKLU+wtRFqsczSgjoHGsdosYNwuI43Hectj/Z7jf2kvBKnN+A4JzO2pRKglolIQxR7lXX0+/3WC/zhhquyEsfCN7qx1BethW4Ef7xrFW5WcBJU4dEnYzFrcKxZP9Fx8tfbDL6icJePzcofHbqF1XL+GAcPtFekz8y1yfc+yFGqKQsd1vLjYUw/MLlEe/nhytfHy0w9yfVDAA1x4/bsoWAJFMJ+DJ/JSUz3vmI5EPF4kCQvD6+JV9ec7FK80jP2T1dk0yXQbsG3QK0vipXP9iZyIlOGW2X46FF75D9m5MH7DAsuIzGInGOr5xRD2hsf8Bbe62Eo9k7w552bbs0nhUvvDqtfznZoS5HSBnFiRkWTxNzD9fGJWnsAQZAps4OM9cpDbCAOvW00MSjKB4MuFTJw46uK7xwjSaLQ8Yhbq4G3KEkviABfSsxL2jXsD1yBrNgtmYvisjhWVvrVFDDqLSP31t7zjdmn7/cylZz4BawBJDwoWFVMKcNPEKbYpxpA7Lsul4WgXjvK2MGAjxxYqoWCVetu//nz8DRaMEK7PeNn09WNeCLROD374kLiFTXtDF0rJ1pTlZQKwqk90SEAcpjdXHyoRGKCDk5W1wlwL6afnLbkwhxaMnakAmO+RbzlTFttAvJ1YlhPBaxYpDW7IRg3b8kmp8Xd+yXlVLJELz0RJgRrMdTAsmypqIfSjjPIPKHKDOfUeQciXuTv1dF/JQs++EVSqvKmcmgcY9bmOAv5NZNW++ZKtFmX6WvmhW7kyhFPayQ8xlx5kRyX9MmSJDVqN091RKA287uru9wkYH5iDjdWeO3IRTrkhvXTv6nmoJFNVjkPXcdoagkw8+GIjtZlgAfUpNpC9J837eM/c1PTF2rQxhCvRz5/68Oi9ydXKcHnIG2CszNkwpTbidC3+0fYmkbJBWG+u6/olU0dn2iPWPvXxQQrBmNGsKpEOzlruOu+5pQrGKeyPAo1r2AF8v+UxmE7t8J4AU81E989OG3nzhkIN/HWTevhCHxZ6HBzkYLkgm5a1yKtLFmr++4hGYSck0GnX46CfwRkFhtlv9Un9IY9PUOv/KR22DDTqYxNBqvGtEhIHM/pzWLhaMftsf1tMdd1AIhvk67strDu4owYez9BolY6FtTahb+L89vj7P7imCfLLEdKnUeLuZmbhRknwf8MayuMXy4iLFrJI5+k0918fGx/hX0Uu3OGhD/2jxDVqMd/cTlzqGLice2ZsGeFwsFUzy+uPowYujqJjcwgURWCpi8VlNNH6DBPxRA9Ee/w4gVju20aMg9907JqKxyLwa6vpIj92pW64uk7U3URdbCh0NRJoVhD2e8LehtamxrOZ7NzonoQ34eREdmy+FEnAqvaaON2BRgT/H9YMIgj3eoTjI50jS3vPSyKd73NBICdFVinV3trLsHIm8uLW2G6jeb1dsPErsp2Z2D8v9ahisyeocGjGlL3WcRiN+Bx9MVg/dwH93SzI0dTjAI6eeI/JiibDyxz+qV9B7sk5hKTluFtes7OBwPWEWBvydfOi+Ry+26uMR28M+8YOyuiA5hGJ+YPe8tuc27xx0EQplrxXFA7vd4X9XaWE/DwVpxLOPq3Pv2rkCL5GTzNwYcO+SSIkBD6IKZA5dsGXqORJJisR4DhM9zCdJrUMXAFdH0+ovZnAIEbUK9Lo+NaYUbwbj3I5h3VunUpml2aLCbH5aGP3VBuJF6C9ahtjQNNLqI+GattHAWccFfWxcQBujsT9oFFY5O6OYjHxZDg2t1BgiXdY+hk/4xdosJrFL1vjQ5uoQ8wsAXGo2at39uHjgCQqFcIIio/eSrlRLVndk/nSVKOghiQZoxalq8PccQvw9X9f64X3ZoT09Ic4k4KTkUf+spREMVA6mNfnF7OPXt2jg4ZonffbFcwVrq/1fJ1lqptRYTR30G2K7+lBeFoNVDMGbUxqVz7p55FyZQVIyucaCqpjEOYZ153TW+XVuUppbIpwXg0tq27EgxCDqDqxvoc7RnFvX5ZH22sFV8G6WPR8VKBy1ecYMqPEocE7CgNZ+6vmyLv8m7FabGGvrCWLUwjghFrG2WYis5a+AVYj2PcZ5tVqQkjCoVFFnmgDollPwAHw2cYDxm7UxDhdsRKx5RKyFkui9g/UJSOLpJ7hK1DA6tDI2Ow8wscB7+dRT8nyeWx9FdIokSXYjGxLvDrxXiRkRP3O20YlTgl1B1r2wExjIOrCyhSzg6+nW+VdlMLocRMKA36moqDvE/jqyN8FjX4brZzQsFHRtiR0QgB4EgJQWBcBYDJeUUpDAbcPwrDuWkx28LuhY2aZw9fqw6srpa1KMfFLixKeoL86ZMEgd86tPHiOkVGASQBvaWKJUPhz7agfsgHNx3+fRDGBxazYK4R6iYRjr9K7Qj4crR/6cKiBXjxI8oetlCvPwc65bIDeLcUA1gr3zwRN3zXjjHSE5x9xZkInwlLmKQp3YVvrxU3PR8Zt4rrU+ln5maYOdSql48xsvJrH5IH3VPcFYgJY3AUao5+yg7H489IdeiY5ZYqTgAHgzrQZE86lJNG+uCMAeoLp5+Ys9BQTNfxbEL/7ltYiflgPosYZP9LnqlWAeh3Bv6jBVvjVrkniiFdf+8wQXPtehKqM5lT+i//TRykAk52lB6Y2Q/ZKkUQGJiNE0lvU7wNOheriuVI2YJUhVuFM8gjCBo/BsqZ3iCAJGNF7diCa0fIq0gWtUfiRp4bqljZBITEtqjS5+IzNX4C+EsqhDSOd7AIwaPdHwfWHF5RcGrr8Dor1VqAi9JKV0elA31lYGXBcdJGTHOe+lIIjToXzFvykeTIG0WDzimKwuzpBWL7UCX7Pofo790EpmiJ43uyV/a4AhO9XDphTNit4Lh5lOgKS1K0fbX+YvDen9BaS5cM9jYXpZophCk2b/uzdMnlS7cLer1x2WkOtlyT00vQMmY9l4jhNbTgYF82APJQyryEYOrg2u/APkUugetOIf82CJVMMS7zmMzQIR3vT2b3tX5atj/8+fYepzOma9+AYUSi3J0i7/66KC+Sl9iJ7pw25oQPebtzWZdoaTc9B8eAh0wzoU+VFZDhLxRMZHWvYDoVMkg89VUiwhKF/IofgQpihx3FwH8AlOMKjyMFIKIXhGI5mMwAZr1Hjs0bf1MPkEH9kK6uMuSOpGUFqjc0Zcy7XPImZ6Ho3GsuG9LbdLpJ+9Xj+9E1ZndvtdqFFhtocZU9x4o2pAPI6MJj81ObPhfhTIAES3oK4LPynQUY8YIgzxKP/uGdMV5tDctt6uYIIlmyCOEbaelrb3OtqKKf/Paehf3UjHs94sJv1mt+tcTTzF+3pOz34uNhtFBhheExEWnqZZ06s3MAsbWmwySbLkbMx98BYVgsME2c125O9v6VXjqZ7YLZyvQLGD/zEUi5jT+xkfxOsAmoTpVQp3H4zVOn3T0IzzWIa1UQimZH+htD0aK5/cLIM5fBMbakmFR6Wz/HSe8MM4Ct/9vJcYqAI+XjPX0xOu2I8HR0VmVH08P58vSG9YgD0nKHyy1hFQ+k+tpC84K07urEFzQoUshzu4lZTqMIw3TM2kGyFcPr+s64BwlYB131gr0xslSVtJvMJAoIXFQkTpg55i5sBcEIPoWcafk77S+85oh4CHuVPDH0FRCwG7371+aJHxp8T2fAWuhAPADe3Ox6PrdPb14YHpTia71mO5s0tkOOyU63wSrLJewJbTkjCUlmMFqpMc+ArxbGPDppTFZWbol8tBOS0fT1LJidzRzSRGrffjbW6J0dHP6GCsp6wK4xrRvRjOkjDbZa/xZTWFH9HbtrnFJsKL7wp+B4y9G3cyNI53ObHYRWEiZ4PzSB/UpSz6yxB3fKJaitZSc/gXsbN7G1c5x5J+EIfX9qpPdP4V+2AxpFLbYnQ4M5Q6DrRXYzI5/rmObwni8886TRxlRNuIdfuAqJKz3pAWLMzs55kVygH0qyGScCNOb8jbxVW4lZzEBXGWaV+EbJ99lN2CnpSjQZecZmMG5/HPkql1R+tFPQuEXIsIA3v9BsTC82VzX2to/SAW8DxeZEKJIXFi2a3PnaZM+PLx0evUGPuPoUvK9+vX6SFiigaAhljtK/anKFDIZmouBKe4xPvfB7QOrsTfek9quhUiW1Av1kd29yu1TVl0dtKtfAjloSHBLRXj3fW5WRPfzDDbHo5bTP5zO/2zsHI7ai/S+d3vgGWsl/n3fJUi+w15/Aeb4BoGGJpCS2UyOqCB89m3N2yLQpiZoevM/L9db+PP52ZNG1+frNGROyWJzxCfW/DBYi1oOmWkgK4C8+McLDTNy9UQ1CmqYx+GBIDIgTYOG9liZ5K3K5S9JmZdwfEdbNJH6MORE2hXWPC5uOsi2tmkD/EVGx0uwfo5+kPbFEwXpksLWPVrhumdEuCaenCrXcHuJagdmhOgPFhi7XxLps1EXyQBcyTk17wL/aQSWFzUaFED8G6IFrRyYqNH3w/UeorCQD3gTmP06HBndu1c6me44ij2YuZAaGubKdiE1nH+JUaz/r6OC0iCt8ipnckE/+UlDodBvU7+iJzzqJxO04TBE9VJ7hlAkUDlnZnXt0529qhlnbFzyhGDDQB2YIhmeKXLby/5iRAK//EVTKnPEd6GgThz5CHXpcV+zCab4JuDbWV+kUqQ6zlzJqLURGWTiAfKENnQ4X4V6d7OnsAJVGucUOYoeXmH7WloQFzxUZLzY2HWmZ1dUdQLJCngKEAcXtvxgYqM5Quuh8IapnrIb5kYZodnZxxNS+GzRW7hh9bDTfDDDnmjzZO5n4F30SskYoTzK6jpoEprzwIJSANvWnXxMGa6NnOvsZZSQ2DzWhS2XZciO53xCswpJEKx4FBJkZaS1UdZYgTHlmvgDXShspeg6NBbaUJcGNR9ABVgE+lsgy4WHzW+wp4Kg/BWeaIgbqYY3dPcODxwhlc88MROOkYVEgKH/eJ5Uo+wdoj0X+Xk8ZQzbaxHQ9qAhC4qKjGHYMOmCacKA6XImPCy27M+U+hAeG6cm55KnYpsudI8CnBOCbwCh5tmv90XL63kqNTQTcAmA4PR2NFA04YJbvvsECXdk1lqkMs0L+S97IshIdL6uU2k/3GK8Y3/gRCzUjG3/XhRuK9iXdtjy+2/QdEDwJ8NkGDHQiroA9+7xcMRD3az4V76ldiaR+8PwyNdajMxUmgw+1z3Gw4tKQsO9YdCIrx81sb507xu7zZpU8STjdFhMVnKgNuPFH1Q0GkDAIb9tCvph+yAHIHYA4n6WqrglLE3B6xsrAyhLPGAPjhjEZuQdr/A+2aP/NMvGM/Bugm+mIq5ZJM6LMbn7f8zAmrHLqAS9PbB1jbXw0/jSyUcOX7Rg5ls3xL22Q2TtVTjd4iUDmOY+J55qslzony4NMLtRZm2HyOdzxj3HaiNEMS/YY//5b56tJlwmLuYIuk9yLQBQFKq65rXubXFzplRyU7hcgsZJ/fIWfYQVtFOeT71+cUaQoRufPkyAZGlYMZ9j0JBaRa14AyO9mdGGCBr9PURvvWDnF7ol08prr5qaWUo/Tln8Fo7h/vvc9Kgxo8Dwbm5tcWkvnv4tZ8QZCi6DVvTZxtBRocZYbuXq2eq97UbBB2GsOpsD3pOu56/sfOddyn+ZDA1y8ZY7x+Ogsn6lQb2EcCDYtxjB26HdyBk44mbqyUtBWpKKtnVcYG7jqoXL/3CaTrZWegsqwdf62FKUAI6nm9aW4sbbDrNzsAUKFanxN6PM/7myYHWgn1Gwq2WXEaI0ItkwLrNkveITSAlIkFfueVD2CHrMqEql2ii5ur0DmjMmox6dgvPbgm8SrZPQNEiLal4l4/gaeLV5SMyf2EJvdWBw4PoczQieg6O97G4/NGZ6SlZPK63/eEh2nmYaqJOurWkv+BvcHsbpRP8090H6/vPUrzYctaw2DI7zxj+cRPUTd2qbXbB/gYVLTizx11XBcamcun2neGayXL3oZX7043Q5wOgUtnPpn/4PDy3bpHyqD6HAKnG4yAyn2YSJgibFiOJxP4IS/Kqppfsgup5Auju84kzVb7+cvNJ5bid6e0QkyxqZ9LxNmaEOqZLnyXpeoLn7AvZ+75hE1wPny4L3eSbKOx0+l3yQ2xDrXA91ya4lmYVvg77yMs+iIZF4bavQIlaprB0RLDp0sBBfGsmxD/NZmEP/yARVY39RueSZfW8n270aZQtori83V03duDHbFV+7LBsDhWZQhK/yPis2QcfL5u/0Vzbuo+59dDD/F83E4YxOeidgn6a7GlX308hIzuYm6B7g3PkobYITwcIjskEc1gAyInZjooYjh3kLKuAkOuzUylt4LI/Fsvhzuam1+gwlEjMwmz1b06jPl7mc/fgs8gBgMZp+VYi1oNMO5ISTrA3Sf0b3aDT71mZ5WW17BTM26F+idEhEkJSf3suYKB0NyYXKsGsHLDioA36qrywGLXLJQh1gY1prvZOcyLRXBcF2CpGbMJo7eChuF2/TQF6ZnGx6MAnEZWax+tGPY+8AqYWOviQIxk3UaZC3pabo4Gl9Jc0/ICQVPhiY8uAH/MIw8N887fYJTxXMv36WLAPCUSglq+KnOpRZ3n2WRDOiy04/4S2qNWaGu3XfY7MH7/0k0h/K0PAtD3m8puPYk27tq8GxAxOmktQTBpcKODr4pQG8hVk1NDckff1ebCxNh4ZX+kZwmH+oTeTG4tW+gS0BGTy67vv1fqcJaA0y0P1woFJottYARvrHD5RX9QfmUQLvhSh3KzVPyfp/lJDyICNSDHlA0/G5eneHzarkTIo9nX5Nz30U+3clL1jfZ1pNthFlNwqP0OPrwnI5l17h9INBeuV2kRYVkZuXVJpHfRwMnxXIJ/RQnUmfGpivlzl7Bcs1HxXCw93T4C8cYEYWIU3RUtwiatApur8Y/dbWvPNTVFEZ2ok3pgve/5kucXZwUdcHjN9T6qeQnqp4I0bWOFtjBkJYDQ6LjX5Qfg+eUWWHdBTTrgsfJUO6U/1QUjpc+UM87HTEYNcy9Pgtoxzk+GJrLxQNr0U98UO5ImYJ3NFoVkQ8D+uNh06CH8WlcgkALP2r4C1pnIbXH1CYlP0cMrAgHKGZpKua/k+3wF6MAYB2XVPprVC9lbJIQu6O1XGwXEu8Wxfs7o5lCCQhlbaDp4M9+FZ9ZdHP1goQ9VbclnG/U1+OlYQWstm3bBWf2voa2o3zyWnQ3S3qrOm4RXZXeX8Y/qZCh2+H4JVUuqtu+02ioGkA01mPLIJvhS1+gohbAlK02+YslKkc+5CNBZbx4KfKUVIs1JBLmQIx+QaDzMq1pIQS6hJ21s4Y+e7u/wBul8hLXGBAYWdNf3GOYjBsivW9RCrN09bN9tge3RAXBLKuYM9ST9wGnxMmOjaDGJjN17tPVidslWRqrG/JZEPObDs9NM/HTFvPDiXZtcbL9arhlrpTod7zqdFlQTMBeSb8KlSFOQm14sJp//YKPoZcCftOB6MQTLIkwSctNuADPI0DoAq10scZlqhGqS9iMFkMG4lL5F4Qmy6RNhoLUTZfYvgFoWfbNJDgoR1Ju81JAM7HNKtrrT9jC8jqpUuBWlKkeigD6RQwJTsczvwwbDopVZyW0cwdXF5iik0GrWVhVWLuq8011xsLdoKmixA3fp4SjwBVh5o/ILzGX3q7YWPF8C/txIgczgFTVcrBnvtGRfDAcGsrD3KTT7Qhf1MsyEG/z90u8QH5VBgLNOviN3mJYi8L3FVHVC0PDY5r5aWiBpHoe78Ngj//p2EEP2Xm7E2PYEo7DpvmE6NZAvZVtRoBoE+XZvWxfQf5sj2rFY2dilytlOk4tsFWCRZFyYfa7cenKHopIQKFFwmQbKHmomCo3y3JmBou38+HfqUjDUZ7Ld7hi3IsivcUBRdwXgk4Ze/eh2gBZg29796hTSvQBoH8Q8DZbgbjOF+JNU7j43zgmtqq9LVbFpx23d8Jzt4pU8Lmu1ukSKRU43fWm1cCkCdvjsClnY8ni1jJA7FHRObzcL0C8Hgj56qtecMIDtCJ3cMw9bPbxKdmsjLBVsyhi38YgIe3qPq4uu7hKtKjjTK3HMcyH1iwkxU9/uC5y4Qd0eQOl0cykNj6gi3D65mHcrF26HpG7pefmV4PoouSk33TZwAxSy5O4vzUFer/IvoG0O2kGaO/63fOuSK+qGF9iB8tIMD31mbSG8+gNuOvQ3JzT662rZmBJSwe1MRlpLnS5C0jnULpO26172UW8wR0viIX5GdvHYFYQg9/Ap1PC7Ty24zvfoLDtOvcAqXaVwpj3Mylr8JUvDiq31PCqqjzOPuNcYJVATAVmMFhBJwHrZhYZ1blsunqpS/n0GHuPNSSJ9EsEqfoM7ZpHz/8n65UJPSnCD00N8LhZGsNjEy/YBMAx/QGSg0Qxe4vv/XsuWVg2VWqQHGqgexPNPO3ZsDOc/FDj/hlxWjbXjiqB1bgsoymCyeg2ySS6DMXJuAc4SU1uXNyUfH7ctj8nl/9mw7iBVqXVLhWKCX3+IPRBc7qZStByiMVi2in3t57plDCc9UJaWcvXdb4bf6bI028zSM3qjdQuprk7SjrYlVA5XRE0n5ZsXtkOCax2QV1wl4IqbpBNYzcUvl4WcNNGaajA/KC15mA20CtUOIE9mT8D4QyuM9PdhwvUwghlPCNITCL7nK6XB+58vlKMJM7H6TIJa6iLPq+l+IF7yYgRR9Y9TwLHe5iCkEPXQJOGq/W8XE+JZmd+H6qMwYNYuAtFyRXYPkIj4aySC8i2p6Qi3JDt98kDFfR7+8IK4VZYpJD68NNA0npJfAl5zqWLByUX6mJz497hs7Ug8r8TZY9B+A09JywFD+oxdRFfXf99u4lpzvm+BJus2hNT3bZz27Nvmb5be+9HM209SYGgeIIXs3t4HyQyrSU0Cdvk8Ouv8X6gKWNbLpH41DIy2qdAD5HyuwR/3l+kVI1e4T6Ufjyn+d8KKg83OvLSFUazktFt6Y5GfziaVESVv6j6Pz86f17CoRpuOWOHjHEObNRY+AZ7z6SMEPB6LcFWMMxPmCDEg6moHJVuQJ8aLhcBZ7jCx70ivy4I+XC29XdddJvLT8xMg1fyUnQWAs6bVzS3u+cBbb8blyxq4H528RP0UkzcSqayMdD5Gtkxl4XqRpg+eyN+W+5xMLHBDdIpaONX7KGLdaofWc9Db+vRU6OvFh+M2/9k+8fY8ICtF8vtLTUi/EG7V0XjBOZ1mZAon4+h2YfQTou4vnvhLiX5oU84Dj8OjaPkKji67VxlLXUuq80kP348vnh69JmCPcUoMNddZ3Invz9AOyFKmYMx/3KaD51esrYG5TZt0f1MXMdMmql7WmKUU8aU3q5iJfmptz4OII3WEBWIjbs5lv/J/bCfLPWqZoDhrS05RwdrfJOmnqrEYEyBgIUPXVBcq25qbLwqFGWswxrJo62c72HCH/C8nSFuNrdtzWQ64O3Y/5+rxMTC7UBSse9oh3hjxkAePkDVhbvsv35HZv8PjhVAPvr4vodldZRRySq1Zp5SV11gEO2sSknuRlGyNt+KzyvZBUmduuoUSRFu/NUejtT6rlV2Kst+NAwCrq4jlSJW3iZIqxQGwH4dz0DW2MmN+Ak7y+hvGF+PB4JO6VsqfYSPVpexmg7U/k0G9Et8V/S1KKtcw/X3OMmoj9CboC1w4F0seO0E/CFGGufXPxOduWqn/G9EwD91bA+gdTnmP4+1veOOwbuLE6LwGOAgQGebDZH+af2aNsLhklrZhjyQMfjyQ/vy64OkGDrhNPrdofGBoESYLMIT9TvYTyDENPuMbPvmvcWty/THMTAMyrekJ4RNr2fhHuysullF9rj2Ah5oMEhXzuIStTNIii41xyjfZGNjBipvQhkmax70bOyufWeuwrKZUe+S4B02g9pLMhj7IacP1ahyhDYkcQX+CuPM+pyuPLtT2yqCgxzY48zikkJ+YBOOKWsIudLaGln3nXzg+jbPWZ6BEeOCubTEk4b2mAssGu2EGbxve7kAW8JUYtCKCGicwdqXOhujigo0QYFI="/>
  <p:tag name="MEKKOXMLTAGS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dJY2OMwf8mgoXWrd8S3Dpr8K8e5QDX9l/GOurOelpINCJLA3EC4Lci7vMC6fiShJ1UHdlzzodfzXVhfa9I7ytv6BRy/EX/QD0MuC/l++gvMHIkBB6AlB7BB8SsdaqHqhNYaeJzvHV7QEbyegVP7yvTblHj9Jw5nzodxJ8b5KHYuKYcF4OBsOp8BLTvqcxJG5pw/PPok1rr2bEJoOdp1Qba9BiIgA/ZfIKKrDyJaeamlTpIaEK5amk34kXFmOo/L6xoSTXQBGtF8D32B78V3Kcr19gMx9LLXBLYHmSZTNkQg3jgawazH/wwWaTeQ46F7gBV0SCHjQxJdr8w8MvbRfRO8pY71Cz9zXh0hMni2iTQY31KPX/FKds9EhW3psBaQ5elNzPK3GKlDhpy5P50wdC35JR+IWjzZ1PuclBgkzRW5dT3KOkEQ7NCczj620eqKg/47kJNHDdI9Xb6vhsr3OGkCkgh+/EVGspd18ESJLloDfxOeIxfluIlhXodh7ihHgM8BsyYg061wkOtE6G0S26/JtzL1isxRaOfJ7NLe2nB1lQb1yiMUCg8pV5Zqs4lNrVfc5KxAV031ZVX6a6OpWlnnd7JKStm/SGIfeDpE+i8PSIroG6uQ2OTDs2pjvBw1zeFuOBB5hHmDEnIJJD+C+6zwJWUo01/3XmrW53A5ZIoDxkUMHDdNFE8JxEPDs5oju1rL0TAV9YyQQq9TPNoKW28VmlM7tc2lwrW0iOm7ZPeJwXd1Vop4rrdrdxNlg6dmxQWVosWkD5+iPPABLAOupuc4bvLU3xf2e9c3DqWAnN54wxYmu6RrWB/yLD/96g+OmESQoLj4PENC/UUt9zzns1/hUasy5URfxan3/c6dVibOwVQ7Sc+sayAS3hVM6vSOoZHYUDSkGCjnCOVvQNRlyBg1I5kORG9M/MbZsj4CxGrcWNs1LYHMQmMDUshr4SlEK75AW1tWQQdXSya9IDUHFHm4F54UIr7n3qWRK1HyBd/WyIkft7mn+VqgjGnaQObf7oT3E7pjNUyeylydHiWAYiy78vtk5w6hYCGcZFBxrE4wtIkEJpdG/NrduJaBsuqKcH8t0NORLYFMZKzyimzkflcTZN+tTuf1ZPvYvOjKbjfSHfKnmm9llDBF491fqyWrcpSyM/0CSLBtoeyONHn+v7xBnQfayHg6SfgLbaaRTawoEdMCVCdrDBJSTxKy3nejwqo9mpRH/dfEVMbsz1/6o92GEyd8nzK0UnuqYTf3h3Sn8KEz9SFLdUmpS19d6HhKkI6VUVM4Ww1p46yjufwCmK+K9DIqx7Y7YGGDk+PHOAi/Ds4hJt1BucnlvoB7DcX2V6ofdObAf/O963mupxMENG7yr/u88HFaQKrCaAPXqdaIott+IWXqDNvY5FQLlbLtsnyxsFQPCvbbOUOCI0ou6MO5PlZU0TXIgE+R7JmerGrxtTbx67XzCfZuNqiLKFLByh1YbVlqE+v4V2zbMBxbBJ9Ukkn4okDZ+ZjXz5gH3BOs009jFYUhTcYW3G3OgiC2MoXfQGowBNpi+JeeM7+u0cZcTaUf+9D1TAZw6ak1Y9QH+izoi8ze58Kts8ZRjrvWjgIk4BYoDRd1K0aHbOKNZnbCihoXP0bR8flN0eovH3G0rC3U9OZ6K0qyhWE4BJT9MifXp6yGHwIz7RbydxzCJCuWiFrZjEMZSOSYYri6glkC17LCRa5fCIpxg60g+pgYrq93itKE0WdBoaCIt9tdLGhd04o1JkmFe4zKBe2KOsrkVbSF0in76NFOsaj8dS65TdAtaCy6eAbp00aBY/B/TeUjXv+3sZ05ueX+UkWCSMzcPlvlip056DdSW/EsR8LwwO3O52Kz1/tOrR1Ji7PkwwSrxOa0J9kWAkYlmXHpzoW2iujZoBO1UGaCr33JwYL00mrKgJ7Oba7q4pO0UUxpUr0n0ewsMz22iW74y8CpNaXNCuecW1oXD32g+Ahii5KfBfgy6AJZB8cqUsRzuAQZt/ZSqHHSrE5qYSKt2q2tXTD7AsqYPR1kNmT9Xe6UtEdGRyWBe6y+rp1UudTP3bh9jt0nuCpyD3DzMD+XE6Q+0P0IGk8EeiI1+6td2OYiVghpShwQUWmgrAWXcbYiyqI1W/bfiTVb/5ErtKGre0rGkGzgKSI05WGTq6VLvmca8OZ75WtGIcklEkmeS9D53LEmXvewP7ODox/ZpMsxhA3JpaAqIunIA+DqiQ+LE0Hdb+PotlQV7O62AIcBqRRhNf+mPHDViSioAjzfZ6oFk1Co9ufXGgp6rDAj1LXAnbp9qJllEgA9BkNf9wHgVP3OFlZ66DUAB3ZEUa5DmLl9mHzlZpZeXRmupZIs4NMIatMBjWRfqUYCIe1QEhowWMbIojawB5YQ7IDQmo0zGWSMbqvfXvjyjnxQt+M/tGvz+J/BfAXyN7mH+EAMiyvuSZ2BRyr+vIIu2qxMFMGvy296l079dwOlI6HzKorsYkLl4zZfnn1FlQ7NlTJTutmQcbiAjEpFivnx8Un57SDiP2n3NS2PO1weymYZfDiSQ1eQWWf1NruywcCcR4BMl0lSsQqvXdb7aaPzrG1NWT6y5XnaGIfKSPnx3vvIwyVWW2RTr9Oz4y5Zzo3tdlAK9ytXgG7pOl0tZ51LcFlP2vcYNu6UN8q7kmUvbWIAGU3mhD9oCnCGUfBM7YbVUyehiCOgPwWaDgHZqEhPYKAe/6Mz5j1jVBGUyBnglxEJdrTBAcSpkSEEF94cf5CoRA1TS6AVWTaJQ80Zt++YNpTikulP10U4bUWiE1MJvuJB9CmEZ676pdq10zMOSc4kZCwgVY8aWOjFcSr/kK37+SZt0MYVCfTYqJ8vu7oB5DuodZbW5w6+A7HEMdMLUJKngLIZ2rO8Aj6K5Vx6k/ec5gMjuXtRUBnloZQweUD8ruq/pGtk5iL/DYw0fPcvPbUFUXoHYx+o1QoOQ3QPNFQyBX5bfr1doVkb1QUQtdiItytGuJ9P5B/ldxc74YgUny+AHC62CxPs86gQRuILQhoJE+JPFSDOW/C08jrEWb7AXLGfKpHDCtXg529qItx3B/XSn97EfH7ZyQvMBlUiPqfJV9JUuZEMTRTiCDB+Fcu2JwpPDngIhEgyQqZ4kiNR/fR3QwfoMfLQBGs9DqbY7SqIwf2lH4Bl0G3CRKKg0dElh4Of8upcozeTADkx2Zbuq6S3ZrLkfgTCI5VUOtdlf9nk60SgAxjYXtgjEfsIQb+k27AwRz6P+bvHOhXhomqwsCxn2z7fb3iLlpA2gFGowjRgmrXfDwLg4kzi/mpmlLUDmXcqxzKM3MBsAHXb6tRMhw8mLeJUbyr2ywjurkriJlWXJ5N76Jl/VFEvxzR5WiFKaNBgxbr1g5oc9vV3l6/bPEBLbeCr/47SEaol9zfjHKU84DuiyQBnObVfllZh2YAfHSfqgDU+SUpKildbOdd3Hb8EY1BrGEPAlv7GptDam1KtrQzUKzTbdvyBfqcdkXREUuXGzg/EDosy9CJbhjJ0/HGkOCWSGjM/iGaGDh8qJCsEYVgmT9fI5beECQpLBpetE8fNt4wJqQUde89jhU40kCmgcVQjTr1DkqBwzJvPc9/tSOgSRiJJEfQbY4Qe/k+i3gAZZE2WZlCeMUfZvU9IfLxB0oDgHzYdoP7l/dD5Px398OLJ8vo7QKs/Jm1HV2NrN4VVd001K2ipx3AEJ4OhDO5he3MBwuv9Ni0a2K2hdfcqvLgYxngTWc6ACNypImEWXO65SfzgOjlyP7eIbZYdU4sZdetDYSujP03f0KETnXa7wpcn+gf3a2IwxycmRkHdknK1R+6XK/YGN2z+MrD6jf8Wv/KL1Mdq3OTM8ic5unD/lleiTRJRxGRhCK9ZQ5sGRGMh8uBDTv6WB8rxB5xEcrAGJPSyjPNr9XlF/Hxanw0MKCuAGF03XXSZ0wwcOtEPH6dAOk9nrnF9DHKcwtLTiAaH1neu4TKRm6wScVzjMyhw8/Pzu/tPpoqWXWmAZUTIOcUAv28ggKpe4S5kFkie4VmXkw3UUZT+0Wi9AQPWosZaemTgoNwAb0Qcp2QRICTcCqOII+3/CCIy9tcVp1ePKZj0oUjd2+zxgf22R1JMphiDNvk2CH/SLI0Za4RVoEvm4u+Xo2BLflWIeyTgO+uWf935OGTaEi3O0++d5GVB0dVn0WIuQh+xEXg1Mrlj/98Ip+ENBndo+7WBl67op5u4OeX2cumDpQIg84rkNF5QHLnSP2ULKt9hKihvNOxZhAvKIqxyzU7lTmMMq3g+pfDfpHtVGl+ECopGw07Ow5BQZ4XkVxqtQX1ezOs/S8VzHsz6xYz/ssTICzt3rVYAzdhJMjMBqXGkV1VRK2/oC+mbfMttNvXJy2ZLvLGo6MCtFmkBs+fiXgSRhJ6ngG2iVZNj/CQ2u8dRTtKVizIHr8uCH1HrJZGDLdJny1/8WsdGoSDyN2sY5jHy/5LJo6dfLNVfxdlkpSZn+ykLFtwxqNV8mxifik+pnMjzA85iJmE39UGLv9T0QlH2E79dAO0RyRoALFE9c/98E4NQEeTpa/42QXvP3MI15YZK4AaF2liuCgtbrNUkET1+BM/tyCCofWptt+UW01yYbbGrHK4tK+uc6OlIKPUV+sqEHBVIJJiqgIPK8wz+wI4mbHhgdWebX57sVomD9YPeq5Eosjbk+h7ZcVGjX0SFuM+HoWrTrAtol7O0TzwIKu1yKeksrq9X2Ou09gzK3B1OKKPNXIkdb7+Gc7qmwNRu2hq5f7ukgFk4XDUBzNzzwh41EDsZwyGowmNJaR9QtCrdj5+kU/fqG3hexD/k0NHgPnlHQDRZP42yUc/Ux1kIIiFXM9RwZYEbJlge9cHkYPsnovLHvEVgYto0oDsjQLS67/8jVI0gb9UfaFSkdgo7ouN85SkbWkTmqPlEqxPD+m1Ff2J2c7qb0ovB6huIBO21qsCiy8uAA1Y+VWmiD+KFP6u/BcPS79kKJput+Acw1FKIIQEk8Bxc7CTkqhXUXB93PjQqIYTTnRcoJhK4uxWkE7RI33ACLxtVYDPJavJnvvQHgMOQXrFdudchiDuE5PHyH5Tmfp1dJVsgCTXsZzGkOAzHYJ6g9gSj1xyr6Ce8+EDkDU/to+2CC0tYqZ9K5vI0MwgxSA/V8IFNccCTljkWM+4aJyaoczCF69o60Gc/HMWlwne7HuhiTXAVnG+Ud5xG5a4SC87UsBBtKuBUqxtdIoX+7IMFzZFEWYBZDNs6zcc+8jNGcdiL54h51yJ+Iqkaiy2eBYC44mb+c4K7JRsyhO/dB/gT4gRmRemnjWD2crMekC1SzNMDCqlLMUN47iv/nyaXO91WMOfDCMPPRxCLW3PDamPmQhJ1z30yRzDnp6wMoclV1N/tP9ubAGQ2Zcfjho+Oz0FTuPfeERNj/I2qx/6N2BsRqjdd6ZPLzy47K9Y5Dbx/JQnPoXUHKYnwqtxDEeOC6CI8SxSZQSccOwXl3lzGFZwTqIfSVcVBU2naXNS4Zf+D7lWQcJgmpl5Yp36l6L8frscfp4o7QbIHsMhtqDgEU+xYOe3fqiS2UNoDVjGhexTyOU7zG+Cg/HUdD8pKec7O+8Ma2J0iY9p93B4t1KXs5/jK8QGZtOKP/mUTJ284T1B4iPLkFOFunA/y8y320u1s0r2Tz1FeQiEAKpiTg06HYVoMVgzAmE5YTF/vuaulx3c2OXeurPqodhZkzA3P++/AtkQvobYXd8SH4Pfqp3hIdzaJ7pOR6ZwhNwX4P9OPZ8gT2VYoK1aBbKMHcL4OPShQRiaUTQeIYmvchSZ5EAiDVnDbW/cn63VfEzEWhLZ1bByTl4WSLAkhstpfcTj3S1OYtTKNXU0zFjr42mF4dWtnag4Rom4U8HOdiHgbdBpKeZQJGoHrN4NsSW2axYCRJP9XkZy/pua6i0qSw5ee0qZc5o3eGwb1ARXT7BAlWTi6/JREBHEAVrF1XPGSvsLZ6PrTalSwluPfEXBGV7Txgd2R48KEBHZRyKvXi0u2FTRcJjKiBV2m8iw0xnfhT95gqDfbcDBEhZst5iOzJANgxO4vTkN61vwcsREsm5+BH7UEyGAerUpuB+v7Wc2nqNElwVZivsUCV9utWuCkggQPQ95ThFtAqa3fOdGnj6gadWXIlHfqvvDF54S3E6fN5KmkdKUbcBa6/PafZIceF+cQ4anjWKXmDhhau853a5cupXj8GpsuWHzwJ3ZzH3HKbx1nWVacGjHdSxolEfrQQbbCKEwij/bndj7yOjVQm8dKT7cGVhKJqQwvH+ABSMVp41cs9Vg4s1vNfSJSkhdFcfgEKYKulVnVu+yA9bCy5ML98Iel6fsdvqoIEcP28lWrEEWvB3cHckEYz6mEVChmUAMnC9h3OKgyjMV7GL7lfQG6udIcrwRPVuc31W5Q4A9JortoA4s17t4zbzhc+RFH1SUeLAGrMiiTvUA7gs9cbLXVfGH6LjK1uDS7U8cwaO5x+ZT/G+FbHowwRSdpqrVjTaJlQ19FYrz4OeTlFyk6tipC51/Vt0Fno2iOCo26kIFgawWDcQclJa4FpGUPSkcAWX+1Vwnqjg2j51S67pEHuWNRWDJPMxf9blcDo38tnea4qAlm6FuiA4gPeE+zABpCtAE4m9uSuYZaL2UGTFMUczPNziLZGvfKtK3BV7UHrBYGzPdQFeHUQM6KFEH7M1t/GHMjBr2MhnGyRPzE7onoJzyNmTfGZce1iTBx0WifybquSXw0dSPZ4GPEn1hz4R+wzJK+y9UdDMpa98MXf8c3sy1ljsHHtT8eKEs8TM4AzB+qnxMytHno4Xep4DzyveWVAVBwxtGip6UR0av2+yhj27GpfyeRxoaZjDe3zWzQF+iE5z7pUZpGNEJvCDOfCCWzYBWdg2aigCDG6QdBA+PlqCnJNZMBRekvY0TudqX/FUjRmP4HB9Xc6bmfKG9SMSEVOekilbGfPWfUOJ34hiHANObzMM4Y1fD/9P5+yRF7KR7vwJTIwx46/eEDnLmQorg+XcoVSEP2aqeFXnSNnGA1GY/dqsj+svW6JfFhUcbSIigZUdY6mmBHnJaUaZGEMQZ+3mDcA/5knZfqUskIYem5DeQhicNsoo7lHbcPK3yfCgfRH8zcLcHPlr+p8HSm7fo6iehfmiAqqvpOIzEDXJeEvZLNR+KWWoukqOVMnUql31+hfgCJ7MPLboc2DesfZmIl3RVO+jOSoITFAHnmOjWigJaMD2aqC4nA8tat4ElDQeY9NwljZmVDaPirdYqONVDJ/BsxD3eIJuis7t9m/Q3ko3uk2jLt7hzLJBQPbckkbCVd63AvioBmqGObJVUgzHiUwL4r5T4EKBxgeZtPEj/OM28D8OfcoaJ1W3jVZUs+BU0AmCllWjJCF/sHjeypgNsOXiKqbcFz+mWJ+52/E2gIzUix335kvhu7Fp5pnD611aodKRRHPxg1oIBEeEAem0e6cymmOllpQQL8ox6lREc2uK8YPXY4qFojLKMO5XisV6I3RRzTF4oP7wcv31b9wji4eXxcQCdQMa2vB/7O7+fdjBcFWafLD0POgRcbASRCf2niMW3Hf5H2vcUz4vXa4WPw9lp57IlES+O6jhkZSwXiFb/Jv7sgbKrbgZxH1pAq0N6f23SJRjFpJlrZ7x4nor70FX/vPIR2jBIft/hpKBLWkRBlICeSR7u25V2qnucdqXr8PrTiFps/+iSrBasv3nWNVkF+as+kQ0oX0b4LvvOtQ9b8cEGeRxCQd4GWP/2+SdTusQPGKthQOOed8es+l1ELjdpTG8XIn1GlhW+7DzOja9XfpbaHeSaRl1Ope/EB1haRV+8shEV5U4IdHs5VMnSAjCpbRzFu99IGHGe0f8RIyV1LuRsMcjIz0RIQSO0Wc1Kht6+pdjujoFmBMc9bu8GhRvyWpzO3sMNIFm68yaq1FIT5lFLV+mUzrxbjXjEAg7i2TFCvDIougX7iH3KKpinSXJbyWToYpCjLk1jyS1KtgLug1/CK0ymNPPF5CZdVJ+F2wLasDzhxG/Ye16ENXtQEG5YhXSKPfjcXNE1H0cv4QVIalg9eWZgtVIhl+29OpuUi3a84ROgheyv7eYzkvBKe1G0piTcINR43xSsBCYZbh3KrLRXSLhCXbXeIZp9y6G9A6kSX4srj0g3/XKgSE3aIInfxDkCHe6BCepzNuhgwQoMSroplUetfv6EHyGWND6Zdc1McGi+Wr7wtcMW4LnilIe4QRuny4Nzg2LdEyCvVjrajAdcwFGXfZ3CsHgWlv5edaxmKq3W90oxRklYWMaTay72PJI95Earnz5IIVRAUMN8rlOr1ct6L+U1CRkmLJiDemV/l1J2IbNFt5Y7j8TtJt/Qp6s1R2tucBG1UeHJlFpC9GrmIY9YvYtU1WImffJDIpFaa+prnOyigrOJC/9fiCsQsLvmE+cp368JyqsuaStU8InMV0vfISGfGGWp3I+UTr5nBpwXR3Ntjy86D8le/Z3K77FHItYY5JwkpCV2FTA6L0Y4ggziZj1OJ5tqD+xjaEREn2JHvILqddNHCK34beUw0dxzQajnnz5jgN/VV95deL/S48W9ERFfCZ/upzIpc3RH3/h14pr/Cyviehfl31oYQP0BqU1MHeVjsj1KFfhqLsskYVBFVJtLIjzx0UgjV0dic830O8v7OyPntknV6hcnMjEhz8kEVhvXhi/UyZ1iOnK/FdMjhSmCB+aQPLKk/A7tz+jCwjHnwZCLInLTsIvpZhzldmHPLS/KUt86QtMY7dnRVjKedvfmbnyGeerd9Mtp0KvRyzOKstoLPZNqgqThPjvT6VZCPtpNvol5lnCYFfHSg/CrB6u3qaq+5wvMWqox4HUE0tdDU8G+8RpIc65uhELKDdq4B+jquD8p7wDtcAB6YvS4ZKDzb4FVbQEQXp0LSdoHEs9p75jUl56Lqphm/cn0blpIs6VwNoftR3+63T5bfp7G7b1fyf9Pg8T1nL7CBsPP2y8KnRa79InaLB7gzRghuf6cezOBc2B08V7o+nbwGiDNo1BTaSCnrnk1/5npuisV1B2re792joXiyf177dUPP/+blCn8zEvOlX8DqVG4kNnIe3o2aFzttdjB4QsSqhYrWI8jifW/PWNbzZmu7I/Rrx5FFtj/fX/Uh7rPC+n2VIB0DPS1lN01Dn31+BpfgTROwF02uz2ZzK0UI7y+LpLfnOewousoJOD/qpR5Tb5MQt0i7xzKkC2YynaoXdH90TSX+ikN5YNc9TeBIPO3uf8hO6rJt6+f4dOo8eg8T1fqzCdjC/kCjgoiya03pQTVCt0mXVey3y3aFYfVpKZOynkOmsWX32nxAuSrgev5kcb6S0m/kWOvsbbjjYlcb3QzNAiIOnQEjlS6kYA/f+cjKQ650iUfSjAeDHyLH7mZ/fQQxaT1lo3zzOKhVTLeZAviJ1TVvVpHNIZ3jLz5gKtR8YtY3FSnhWqLYsntprh+vOqkX1xR+fmTuRhcQ4zhAJY++pWlEVVvquabFvgdI9/ApkaqH5yMVMt1gAmDtiVoZR1APdF5RxhPFg5IYFuFyVAC6nLl/larpMe43y+ZPKACZ1zOTZSwpt1t2O8hc9BYUJDo3TgQDJFj1N+nn7jTSWxpnhgcK3o0KeEPpMMazlIRENVC6zlbFPoF1ZNEkqxOgYqIDvbg0Fla+ptUoY7I/jP6EGGJRrZYG4IKbskugvEjNbm2EEwjqENJHzezVfUIvMJoBLNgT8EfgDvoUqWx73r2KyWx9zuodHSZK2HIQoBbCP4cAjDcVfFL8RlrcJ89rBnnvF7KXAmv9OsJ0JuWWRY9WlJEQaZlGf6JbuwT8R030oXcGXfr5uzm+kxW6xQeA4SwhnIiikiyjXz3I0053M4xS0ufSu9aSpW/2JHm/WLr05S6xUljdGIgBJ8CLIy3PPY89NFXwBQBotHGWvKgocahf6cemvvc5dtU5/9WxDZWgeUMeeLSRU2HrEcx0WFElu0npSCtKVMhD2W0dEdIr4AIGGDxyDONrMDQTapDxQm+IVhHXMU182Wvh2dEdjYkp6v8VivA4V7KRu0jWOHU0FTB/EcANWJ7VyizdJDqOgY39l/mlTlvaxoCxdcKu4jAa5hg6+U69cvOvnYwvJxWafHuY32EWa65vtH1XExw1PBOUuSzIsNtPevsZ2AW86VALh4JvPB8t2WNpi+aMyKMZ1jhE0uAEQXY3xZg3MLj0siJu8V+ApMiQXP4yfXtG9xSqZbuZIrb1gvMQDovXldyCR4ILYJFh4kId+sDt+9Xuqqsfb8ISrnK4292+4EgXj2q0UbBwqnnhh6MnmXRP7N7fDVa2vP+5aNdAOIBc1jWq5+PNv/xaRS4zcYBwIydSfK7ajOt8KhptNOqignFyhTVl7RTMz4DSW7zQQJWI/pIwISvx83RrdIYCTiQOjdKjv4gQhawZk+74kgSbTxCn97aKm4os6muw7rjC84DS9Q9WyXi89I1K2h0nccK2Ys7otv6/DmVmeP3AZvAdn1bR2t34kw1bl+v/65MlSyt9BsR7wMe5Pp/LnBFc4Ppzltu92aFkiclEQUrpVe8xFqYr0UjnnRUUgq3baIxkYufiX1Dx1qN3Yh357OljAW3kIQSZQfJVYflmgrHKid/CRLraLh/eBohBVAlOYu4/bz3uQWCB+WXG2wt9YZS84QQFIEABDCmG0McCqweekRK2UD+plEpSBjdHyUe0X75qyG2eDa3o+8nIxZ5O1oIfycVPyXRjPA7/uUtX7zsNlkGgCkrulofIjdzaljQtG+ZuDGgE0FBAqwIwfPaJ0zZWJ3XvRpaO2UQHZ0ai6nGJEW9IVcHYHQlO1ept/Lo7+EgXreBtqtg6mMXDmsVRWf1/NVU+zulTUBtmNkB1Ti0Jz4ShM71/ehJxo70ld7o89Nfe52s3ip3f4jN2KXfndY2MctYKXKBiVrvxkGcH2wXogXJAt26sLwsJ1pLXZ8Ryk4xDt3/yVwJEcO5DRkbxb98Fn05LYtBid8Vuopr3vT9aorn/v5ljsVC/0zSGGjwTAasSEQHd7omh3a8QrSWQbgqPaRUCeswVo0DFIYHZDv5W4xLa+HywE6ImDXG8lrEiQGLxvgCaO4BEsgh+2sWIvSffQH6PxwL+FR48YZoaQGMC+Q9a87HaYLnPNVmOKup/d8To0+i5te/SDEm1ck44+MnH7yoGStzMszlxUmNXwrAsFfjUN4i4yBnYXGEToLIcoWpgj9gHGV0cqfAI/YK+OPDM3IlRk0wQ0yQLrTGwnZ/9Y6pSgYb2Zt+2oHb79Obd7Rg/XNXwF7/J1flSeRnwCIWo5PqhdlH6l2drHjAQBe5FtyugyF5/5bmlLTxVdHOT0dQuCpZjeMQRqwd2/rwCPwyARp5lwgsJqz8sUIDHXwa2VixloLRqdZ4OhY6CytSajscT26BVt+sHZrOC38/1iYhat1QmXtpLkI/VNrXrCBrtRxHUP72cQ29KhDwdsE87xEpsYdofeV+nY+G0sR13VXOPi0FidKJ91mewIGzgm9febHyhm5td6Skj93Q2NddkZ3vLLkFyTeCcCb/oxcH3mmS4EcQxQ07ZGzkgDsYomMbv4d7Y1vqwoIWwEvkfGLN4Jsqvc9oqYJ/chUraTaJHUrI1D+Bv5Zw/g2Bo/l2U+NVXlSANdK5foh3qczpVSZ6MP3a+m1EmMtJMlPwSfE3an1eZF+pMNaAyhjolNv/SCmwo3vdTb5LjbBfoXzfMc7gLwHoLnDowLnjPykLsQhTMybbGAhyMF9DM118J6PbvhJetKe2byLsXM3kEqaYFUFzd8Adll8oJQZR5Y8/YlHZ3DyVISpzusjIwymAJOMreJQx12i6XBeZZMsIkth4STsjkVmujyBMozPbxlKpq4AovbN3Vlo0jvYtk+RnAAS8Es9buCuwqy4EPk7D66lUG6twJz66IZGrLwRCj1zfDhdTePzEEhquQ3sZxf8hWPOiZ30IsHZAacdw+YKHalj8KuskwqaA9dNEZfCJTzSSs5HeG1KDOS8dHQuivhidnK7is0fi1Snp8FiW2MMzzrq626748XwAAtsfLsk0HL60hHDo2RAOxR0kzOvuqc4wMDzlMgu6UUqs75a3r8OI4nTrzP2OF4/IgSg9fzlGZ6X284udBwslonQQ/TAmKQiOXaLiMYMzdy/ybD5GL/Nhj6jEEZqmjwSXbdzj8cMIfjBOdT9NFhiaLRitoaMqlEnJ6FpiazHFIabye2g+cBannJQjDLgVq6eIGQ1ihPpXd2eg8FN7BrqsqYXpEm9X8zHSyCir0b4Kvme1M6C9B79tBulONvA5Dl4iVktmb066N2zeYFx4048eNTmh29FX6oOoj1GB6o7EAuAQQ1QHDPIU9CRBKQYvul6WZbNSsQCRYQXVmBBNGvfBtYFRDeX6eld2Of6gMTL9MDXPr6Jzll8CUjgIV4+thRzgs8lpMB26KHT21xzty/C8UpXTZyDycm0xIvhY8ULIJNJICDkm5TA5PaaSC4kcQrFOKeM2ESWGz/3DJU+Vjm3ERooOIdwyz1zVaWIu2fQiXEptS4c0FMx260Tzlloq+3WBWoZtCoUs+0x9WS/jQTd0elhNcxF4KxGZptTiqyJ8XVYbXsbPWyHk0SQkLEyPE3dAbX9I85RWr6NSqW7Za1ntphSym48KKT5Tars+jr0kjDc2sYogtOxuV0dXeWZ9Cland6anIFdsYrHecqdQJQExAqAQiiZIZ6UvIcZ7GCL9KLR7vCtLbWy/jcgyFRs07/Jzf53NqPm0qIx7Z/dPB+MUfuawaXCsvwQDPbNlvKzC4i2FHc3GbQ3HtG1CCAEBQkgM5wGjQW1U7p/m0NV/5PNu6liYuMIQ+o17fHVK6Db+WlDo2/LzkPowf70IOcKVDY9S0FpkrUaPypnkuqdB/7Wn6xvrH1NGt7yI7P1ex8iwsdMzI2u4l3+ofAH54iLUm7YUbxq1BNDCi/hH8LYfiS4uTdqCxNS+PJw8LdHlK+xr+ctS5Ft3+x7oLQAfUiEcxWeE1SULKiQR67DXJ8XR39h9dyDxImhuXRmv7f40rxqGLhSTuEbf1ygM1+OTFlYOmKW4VLKOwhB4hSnz7JwsOnzfDvBIPX0C8a7eMdWWUO6itVWHs+Vt7e4WS0DjMJ9CSOSpEq++ecxgEjHctUWNY2TpsuHpPfpnlUzjkBXCpBwqzh3jJih9dyXY7MlKImPtymXRMDgvzcG47vXjOvIMlXCjPF5SMkl9q/pY6QjS7E+zut3afoz4jYd6NQzvQ/eSdy+NvXqsY/gND+OirZsL7k3OFQjU+FX9aQ+HLW5n/0cWWpeBAdjfPl0Ltsw5oZDzQDiJlkfCmp101M1efsFXIBHqOvdk54hGS0XlxUR28ok10VvrVWGlg7L2fm0oEP3J/fDsohZBNvVNfAmuoboSMb9sNcbCn9akJiHnI+B2+Wd9BvdVYIwATV5TjSBLxSYYOrKSP41NqI5G/yga4foZxDf5SXlzWAiqBSKw1s6euWYldc0EC2qgI60G0Wq4IJQYHrZ0L9ZiI5oqR2VyWUPRImVGDqP86IKF8iGakmIxQOwTbmciPFeBP2IW9nB/sA+ZaVOcq56qt5u0chcOCHvOPVWX7daJFJIVG8611fFg2l7cG1YtWOfYFE+qLTZRGZHVutSnxqLYxTxZoKJcXlYf7zv/x+h9N1MBvw7Fk8yquYK8i2rcaZeRsMuK/syWU6CdTkcWmoVMLtWp3rA5AwSiEpmhoCRiQscZFGJrjXTzMoGtPlDU3E67v1qJLa5iMvH2ZUFT4rrRVV2eIeGz1POiw3j1PzgpZ8nF4i15M1m0Hog6GLLb9d+7hOyapVMsbAIRZZu9EwU6L5oBLdIWVqtNRH2v7dmeZ7LVssvGgTPYVYyihH2rFBHbQ3wbZpZcdeAnCHgt7fJVImvmOq4hhVT4JHFIhyT+MRpw0M3SAGmKsdbSAx6s+N0+WZR5Bx8Jl1iAThj4X82p28HekkN829jLo9SP9wGqwI0hu/DOIF8op7jRtGYL4x4TwCoiKOuJ4vuBbn9ZLFTvq9MScf21VhEjcpTBqIKycWyLcZzISlT6lJwU+/u+aqHOHX1CcxdJvWrsfl9SsZl6yzOug+O3ZubeTsyA9gp1X1DpABIUYeCGkbvkbZ4Ers3s1d8tdhOetzlTFvOWpZkHyFuyI0OWQm3UrTyknLDIh37n0DJFPwjBvjtnUGx46UhZliUHxs03eqsq5dJQNm4giJxwwprNiFrx+djfW+3CfPrRIveTFrs8R+8kSclvovC88SjSi3v+uBqgVfJnsVou2QYAXXqE6kLSB074URqZeemiROGcmSf9MdLcOU8GaERXmPkv+yhNXkgyWR3LrfPIGMmnEadTeh3dhnLVnfuLDHj1vY5OBiFkLeMCSjw6ikKuMH/BAwBchWEJoemW6zXLXYmNf47kAz/qI+HUiuhGf87DTDqsIBAxwf2G1lChHJqkXhqhchQ+BGqy/3GrGKWG7uYNCfTNlAX5lyEwUWJTLVs3EgnJF9vTqIKCHKoTlXEIAOAKu/9oSsarIazNYFCaFRy9FXGkE8a+ZoCKvDpWuhPNUPCFl1w4QdZ4HwBl42991fa/eW6dKIg1qTVTIXTG+YNaQz9QKZhLnnzNGza0gcKNYd++L+Gu/vpgVQdYFR/W/GPHopsMncvnbSrX4DQ1lICD8Wsv9chUv9HVr68uZmROt4azfCk8XHqXEIzbru3krXzpqjiedMUVQcG0ujCVKPa3B6pD+hnuD7d74Rt7D0uimZlN0Fm6n48LLyUSXg7a0kSravtW12YU6ZtMNLYXeSBOsdll0DiCVGXa1lrrUycKIcvWdEqUfyD9a03q3men3Co0gXLV8ULZp/cGDWLdwg6MewJ5rTnZTb8WlaI/4izbwkFUjYvu6d5aXzcmdGErGSECv7rsocILv5yoeidliXs1hjt2ub3Jk+OUh6cyWfhD93Ll8x80mOa5059nbWf998qGLzja1bHwxox69RfD02p69HqGFAsxAfyHAtmaeECVXelbtdPld1I1AxIeCKspVTDbTkNzICkfbwQjcmGlpVN5pNaUJMko9NzkvYhUare+4Oi53zzK8gK6JXn9IorqPkKCkWe95xzUYhpAAY6+M5/XNF568zvCEUSM3mWeCvaUMwfXcFXyFh3SV44/EZ+pqtziH24fqJWxGKjHyqnHALJUaCbTQgbNcjdO4q7qo0ZPi5rBtGLBAYKIWe3aznKfLhvH8EQ3DV4U8oHw+qGutaSDEZdLQ6rutVw0Q8erWteB3TWWyLD1AQp8bkUF7QKy9WBGT2Hs0HZv6c3TxPikLmvlnjSNNES4moe3y858Z7maQOqc37xsiWJan57sxeZYEpxOEYLbhy1p03HC+f6/RkX3rXzXzTk7qJIbKgxhn7CcyPBGArrLebCqILMuc6r1aR8PIFFPom9/Xd/XfxPWCMwz41XLgnqHA/PCeyeIJtdgEu/tjqyJe4pJJ5Zcnf/xSWW9jzwnKmK1n/fgaIruio5Gl2h3YbeFWsKd/aT50bSSQ83wzgANVDn4ihtG5zKE9hSJhfsPG0JQK7jl5g2Xj/DaoGrRyr8HYRNmnATbthJkcklst9OV0lDcc29tF/qPLlcLLHKiuhC78WnquAPv2RvC1QeF5HmixbDrwlvN7/ISyqCOUm+g82xwCYAEPdV8PG4QqEzJYmNkL0S74bMTL8nkZz9Va+pH1Bx99om1s1ME8fjjOheC3Mvo4rSUHPAzdTJ/WRL36MRib/Vvo0Gunc3OzDacCR++pioG7S8heUL8T2jKHAUWtG8SEbH3EAR/mbIbAyCNWnNRsbcat4QI+tGyhEpmy/Sy7qZz03fuElPYfRMkZHwSl/GugicChI55rJmIj+xlnOGWOXL1KeI6EGPUyqT4Lw7bx/oHTtzLqArZ4ukUejqdGMSiwiBfVIWx0Ltfhrzbqe1SWubDV6mN6jh3eEzm71gAYBG4w/CNVzgwPiLOhdXdi86va1bUzHjBIVTWSifJx+Gz5RJkc8MvlgGYEBBSjkyNWeTYl4OaazhjOA2szAP2WJM97x3kvAxjRJf0gmfb5d5AlMGo3G21AUcXekzMIhNcrXBQ+c3ctVdAE6fJ0e8LpnI6ygiLXX9RtM/5cPJZjSb6/MLudYHvGC5tdDdBtUQcysVOGcqx51+bkoqm8L+/G7OqcGmAzJUoiRPppGwIIA3yhFejfwWUzPZTyNdiRPcO5AX9Q7nWxYlvKElBctm2SuweytUWdUr7b2bVqE65vBX5InvqEI1cVaxIICIWv3C2OSBUTyTJm9IQmFFxaLQJmhNOGDoEeplUn7+3oSJcrIz4kgE0vEvDifdJsA4E2Y1uqGbySxgMRkOWUxAIvdDtGn3zTSjarrGwuoY70KkdpLAfaQ8KA33HJ7xIkO+5Af+fISW8IKKjKDJTyeutI86pipFBVIdXCUoADy2nVpEqWiA9dmdBzqe5m5QBWa9ZRTW8ehX+ZOxhhrxIC+mhGiwUqQdqjNnv1WuEJTjNNoT2knS/vyYwGYsRBnOe3uurXO2hBy84h93aqcAtBk7bXRa7sf7d0Xdk3KVT+DeLFax5wX0zeyiqhwKo4uuFN5Ocr4fb0z+e4PVjgqiTwowjAbC6bCwmv60dqr6pjrB5kFbTrMQ3cX+IfQH+VI/pGZH5WwGBzj4yCkx2rIS1KvhyHVblQ4DDFuiI6H2DWK8cpvU8mvLJfFNTXz6Pa3wX2BGwd8aCvlicGhHpox9iady+U//q+tihqx8rqLO6rznK3caro/45/gXv1Nbu0SGUtgt/UocZwRVHw0ABwH46iRmv8AVoZpImZjS1e3pvYFnIb2LJ3TXWjbUiw44PhNbxXQ1XZCETNYTLFkfu9CtDdtUZSI/YGAnbJCLlnGRMrp8oPQIF2Pj709cRC8Z+osCauCONMOabKyRBuLaHCvHGkd2tWQwnMsjAgzkhB8x3v0t9UuC58pHXZwFlv7AztHzEt2SNpR+IcmjZSLb7BSc2AEeUZvboISpKbzTN/1eXl1wDUk6wwBkx9wYebXeEFBfcdBt0s7Qi7bvxFILfKcTG5iwtczvvqWxkephSrSLxQuXnAPSpKnCpwY9/uiWqRiBO5T8nasxZUJfPotnADv4WqiMSzmwffVr6jPZOSqTViwjZH59JIiPVpHECDdAEOyZ7Cy1gYBwhVsQzlYH9nkM3FgTkrcUqZh9v/i+sgoi8XRPqVsdXHm28SetPT/lYZzOwchAVfwSsN3aGFPrpvRF8chZAwVLMmG/fVv6TFjEY+ATKQ6TR9/j3EuOqrg3U4J36us/vw/ootvbJD08n4pf4JOAfI6tr4SarluCXlzzkK70TtmUsIF+hvmmQY5SprcFI7yMsZeBN9Zjor832+1HceWqfyBlHQdm+d/TOVxhIH8aHUQy92Zr1TTEeYCTfFksuJp5Jg6u7k3LTJWcHz8RFVRAaW1yNh6/ETPnOIwbkEdNKESfgPkLAymeZmeOWnQqsClbr5NsE80UU4roQYoXaBVNlIYkiRE2ktDqR3Y6irh3Wsj47WOUixfilnv9YNHvopq8KJU6zzXvCMZMqxzPZjqCy8hKbp8PD7pltZEyslIbglkBSAKpTuZPPgMFd1i1laukwTkEti4Cqx2kNPhkTKzujd11pNd7HpVoS6dca502TnHCeCMppKjZKDlbuYGAx98/Qys/CTCP9m++QWTitA5SoYBgHQ/K6Gd/J01DASMTeLMVkEG9eEGD9VFFtyXmZ0SV6fGQHvJbDyV72Lki4U0JIv2AWO1Vq7DU9SJmlqeEINasZqNm439gouHY8RNByUHnIF/4w07GaJgqu4QaUxF3Zxfo+bK/11IvQ0cIiYymVqD17yyvg8u5fDRY6OFZHZ4egP8XJz4X2W1fnb9jhIqiW46tcmtSan5nRcjYYufIvsNr8GmStuoSfaEXLvQX+sWbiLkRPTrjbQjcmJATJj5S4Lh4BelzEIMrBiqKC4pp0MRbxHSnoItrI0+NGUIqmGRZ+LGjySvOfp5o9vPi9X4r8DcEKPeCYAibwb126FFYRHfkdCb6XAE+k8p2Y+brk8mcJprkYAAjbti3DdwUEWScoLyn/AFH2p+K3pfcTQsCZYSvWmYCHo3Di1QxRLVllpx7K17com6tCcpjdyyp8OWCWXWO1kBq/zarnAkTl+NmdNFuwhMU+FP1c5CFoHd6Y0jCEPgN0UKLMDF9OTEfGBCQ0AE9ufak9Y3yQCy2RVsBBTIOcV8Q5KAly1kuRQByA2RyPSGQmqKECHC/c1p2qWhs6QAn14+yk23/Qwq2Da3ERdT1V+f8qQkzbZwCl1OGaYIBv759MlRFqoX1+IELZF1O933Y5/0bLAeftORAo8MFWEb3UfqsY1uGF//nL/lpUzFbrtMvp/MTG7/z2lSmsVRq0XxkajCEpDSSrKDYZdLCxKfFGqRhzRUACRGh5oDRMLrIWujUuNye9Mt6OSO8vcAhVqgMRP9UAaibCaBhBB0+Y3HZw4JHXkswAQNXe0R6orzuK4pVtVlPuEcdx7byy3t7RBgPl6/5uXn2P6mRlQxfiPs4hubdbqonyoKwRPfzEfU1CtCwCB2b8Aua2ZKeEtnL8BeRR7W5envaMt/EEiBh1j4R+efxsfq+BMNtR1EdSiBoKimUC19gw0GjE4kq82zryXO/FeanOqAKnNPcGC16i0klevELAr/80ZCIZRK3ESP/rrJaAi2LUBrY3IodDwxtSsSXj2u7yo8lsqVQaaZN9g4FVfA/68waAsOy5PrR0eax+wLII/pRHfMrgws138Xne65uxE58s/3W7ak3U4ozuv7x8PdrTUBu278Z2wfAefMUys5aUtgxaVeO/tOrvZc1lNmOiLpEjLcyf2pQJm3dowz5p2pgz9FyBfhZdpZ9DXvZag/th5GVv6bdmoBxTQfzh/yQfJtMW7tikzisnjSwrm3J5EoZWF2GEbVpT2a1mJjiMRz6z8hK+YVEqMeiX1tbkvK1P8fcEkIt1Yy9KetXhmCy0Az0vT6YL+we2zPZPktp8sMVjwnmbf5DC0LcIdeU5oDnjXqFWpBf2Fl/mRaHvJ1QtrPvlkrRW/77sfqolS6D1iJ7mQQ5uv6XRJ4gpg/Uu0VLdBl2SYUcmBd+PpwR4ATCw7w1g53sQFWOSnmRlGXx8DQXRupL9QpUKqJJczKIxyFVVxLRy75ON8o47njXIQaSCBP2kjoBPznMA8HYZwB1b3TmJ9nTy2p25ihtjaAtvmCl8v29B8Ee6Gb9afltS2gaFoxgDC6uKdSqoktMBfueS1iDSEOi8zCw8galj12W/7Nm9AggO4+85bf9WVTgs/jdH3i7bcF8osX0S2dagCm7rpo0MR/p1LJ5fDT9bT0G+gT/JZjXcbn0skMY9MEkdU6YoN0l5DcBgwn5T4GIuhojba/JvAd0TG2jDoXG4bf5NioPNRKB7oouZn+STj0tTTtEAJuTsxOUoSF2nFH8b8uNR0iwqMHfHTnSfpu//TUrtt7C3ECDokxFDMl7nNYdGrTz1stQL+YVo5w4GoB3SHf/+wTe32UwQMNPkMOXYScMITO2kuoi028s535V7eWyss8cj5TOv0CanFYAnfoL4jIMQM39BcK5KC2gQCTU3hjPUDgAPdwtKMXHvIKZQ8ajk7I1Y2plEGppwdzASX8AcU7C82uW0ZOcaKvDF1C6tK7nkflpm8/kYIOuvBEuHgD+Ob+7X682YpNPSVRVbqjVcdKHn+ePbAZOO2NC82RZQlb8hBQwsOTTz8gSJsWtPfqUcN0KLktb5sv5jIIPOjtSkSFUTiiZXcx4kOj+k1BcyY15e5zWvIPDmm8wmnkUyFT7jrEvWCcQ2DVDG7C+0nnwmBrF3sdDWgX+IveRDy9KqwscXrva0jqAfTQTNQ5wfLB8f+tg5mGHJee1onfeQRlRMXo7qOY1/IQig1I0mA9suDzMSfCqVMG8g2D8558ed9lBYjEBBF9fHdvJtIqxps7PKXo9+XJS4+Y0y9TP/HukEI+mlT71QGBqX/ZiLDQa/rLo1Rrf1Nr3uK2NFzPZfCcKoBJLksEWkhH0Hh4DpCZHu+g1TY1fVoDcrPiKCn1zGm5QIknVoBPjr7r+ntcLX1KB2Yr4RRfeIt7kPy0yMNvOstY2MlbhTQtbdpbulN3aHEGidtO2neSe/c9xdwvdReOX4daA5UmKAUUALGSclpvn/oUDGDr0TCe5qk89/eSIIS1A4rhzuwvj/NdDgV2ufr/55rexmGLCtxOjhkpGRNhPoW3OUI4nHZEmKfslGfYRzhLhT279xR7E+xUQgz5e9+cHQ8f1TdjBFFideq2if/MeeDzEKakKYIys9HrBgDQk/4QrtOrk/IYqxQjRltzUUZbPeebzdRWftXVqhgT0ZLEHmkf0xhCnHcZvXfYf01Je9W7/o4rhteuduiYIEs6rmF8ocs7/L2MrEu7dI8hmNN5TwE+4vvtIgYaXjYIHYyeOQW+ezn38xb9pTbqC63aO99co/oFJGUUL7jgez1uht8bX9bnC3guKRmjkyhTwAwpVfApCb3aaJzYVuk8HzUGz634g0xkyRNGpQjhJ52/1n2Wfi9OyPu79msYRE+yehvg4+4iRg1q6AjJD3oxdcZKqWRCfpV9jimMfreY10qBNZ8UJnCPIIdDxhfcju/VHEaDS0eSgIOgDBXkXUVMmyMo+9nuMZp4UO+dYEawmTiYDBtaaTHXBTK8hDZp3eba8y+WjXMTuYKZq342Luy6/nv2033Tkh0RamQyoISPguYoZCoNcg8GoRP/P3n4yb4gJ+b2MCK0hywHJdbuCzjbXo+B6LOYdGtoSkw3P5E+B09+ldLfuDSRiMEXhL+3iPOl9hAbfVJoSfHoFgKtBq+BoS6Zs9YNPOVaWHeZz3ASaEG+fCtuyRiNDfE6teWaniaL4ZKt1oPOFG33LPyQ/0iy50JH1zvKyzFkoAG4R9222tzl7zVDSp830VA2UcKHFuOKU3ktbvJ/OovYM7bHaGMVCnTscGfDxO2PJH6joA2T+f3k1E06k8gDqe8kUyvZkFHWNg5pEXOWyY5BQ+sUjDrTysITZ6Dkg/jB10MTpdb5bnx+NftfIlCcsQPwiI8U6SIR9aREYuRJFvaMZPXHteR5XQArt1mzje5573t+kW67k54to2Vbbk/w916BnkamIj0H9Q65AjL6xeXGwvKmLi2Ta0uT3fyb8tF6I/RM4PssZjquUbwNYQ0CBFEsTUjPPwNV3jCJSvVbmy6rDkSIvt60d7IG0afGdHJEZ6xE5NP9+UCoa1ekaroGHNAfAIslD0gbEy8vM2h/3rAKNHbRlr+Q938UwkSJr1NXCJHMZ6GldVVDVxBK7PKC5tgbjkwgTcvl3Kl5/VezOUnBmgjztHfHYbs7bAKJNGWW7ymyzTxCKBxOrLEbgGLzUZrnzySAXaXu4B51wyrjOoIu7ggE9Yg4CYRENIZBeFruzlXKXQ6fQQuB5/u6r8O6ZhjvEhCzKElj0OGC58ruWIp2MnEddG/VCWyDeav+AZff+TMXH2V0qkxcb+pjeef5sUo5TsEA71Sf2DWopP9HxhdLuSvDhrXOFS9SIMtTu9AxgRbWUZUMxn2c2oIgOxv9kLJnS+jZ4PoLa6g9pPKGvQPffOxfv5s9Qf3UeAxN3ARO0Oy6G6y8GVanCWoYa9ihcvMwyvbQ+Fk679N/jefdakXO+jH6nsrF/MM3BfJbT4b124UGpnbvRy9Co5q9YL3vbSCS9yJERQrmQ1gWARoFindCH4wF3blL/1evJfp9+QABqB3XFhqxglpx6xNPUDqCYP6EZMyY3x6K2hYvdyUFKccPV2ibW5cerUolYz0LDHcSRhGzY8aRV0Kp72s2q58jxoZNHJGuR8daGyScRx3D76PukEnV+YwtMYtuEwpq3gY7NfKFbkndIHgoBtKhXveIFalbMe3BfBM3DPWK4XPQdLPn4LQp/uNJYemUXGxMty8MWaD2S0Df7ZUFi/UGx2sG+ymgWMeeZ/6m2RfQxhp8Jp5j1d1AycdvjQzbNc/1ysQPVkig1x9wNzfzZwtmzANB4UYATmDgesN478ytJiZ/vBHZFl5LeoCSUAYNbADw8rGv/NgAZoXv0Jb4cQCnyOTsmUCBxEg+DvYmzTD8znYnADP30g+WmBKNY3E+NJ0f76M2aetfj8xtaryJwnDL+vv/taIMVzmrXoQUHvhnA015ss2FgqKKQPPATgnVBxN48INMhKZBvGn0MDqVB6c9Rx6vOLoCaLaBxlAP1DzT7oSYBlsoGnSim0ur4230Jl1JInR3GeV7ziRTXo9OuxlnBCVNTFcknaOi+2811CNE9iZapu/Ap/qN8hIbjwDL0o5exVYS588JUQM2w5b4bZBL/ojGe1hE4BotRtoHx+jQ83CZ3Pjtv0qDbA0/X77FkxIKsBx2hSnxrNgIyYFeccjBX7aoOEWzR1WEzaA+Xx/ZMYvDYm0bznpml/A/FE46ENuW1OQlFP/HN+01jANQKPbES7W49+idjVCcba1L+hY/U/d+3g0XZgA14qlF7mhvgmnJg4cASlXqjC+3ReGz9xcT2Vs0+ihBSYIuxEWcp9KprziaWax4GABLVQ3PBFoqtufBZrFzmlxQTLq1FpP2ep62R2OYPqIoo0z8qcolt62EaRaZhFTTzPBZ090nvEKQL6cgvdhILDn6EQi4fuyD7nARffvXXf5FzcmGxAZpTAQ8VmUk7O4cA3x6tKLV9Vh01cGITSA1xZQlM/10E4cjwnFZL1chZJ3Iz4I6LRWx+tQFodUnS3nelizcVGRLlx/jPr7gfgYXWHJn8Y04X0tZBBJ0t5G74oKd/nhwN+NRW2aM5+4U3NAMm069wjkNORYk5VGE+Lo6Yi+X9IjMsRBvGp1cENqdT5lQzDg1HXp1++/A9V1QvaqJgRDuqL32+y21SxC4j8feI9iMs2FG8NFQH8rTabYI92qAMS+RyXiRpZu7ji8yQvWMwswl/Ib+dF8ihLsLc4wF4/dKW4gI70CUV6BYe4o/hx6l1ZnjQM2dF4lbIUpW1p3o/zmfsjr4Eook6pBCj/bFL7THLGj0w3pC3B4lqgyMVybBw1UuAEVcJyMSXJiJ6RAWAWE4XZ5dvqhmQXhSDz2zVkVMvLhOrjjeLtA6QEE/yGkNMhNFOMwOuB+yr3BffWfpF3/K1NhuNZpdTNv4faxqWUi4U87fjSZ6wpcQkz6SFBq7haeEC7cEFmN3gBEyzorBwApNKIcDHKkwXBSmbdOPnNlIRRcrWAd2xe12s2fU59y6zAkLRIHgcr4Xs621hvAfmx4u/MB0KeUbOmuL7qhlCVdaEf5UiNXhE2S8GfKmOH+yzvbDzszzpfWGKmUxNgKfCvk2kwdT0xVEX1YZV93qTZ6C047G2eUct5TBFELaqBf1OHzQKHTjcaeB87ytGIuStEU4fgsqAjJpTIHXBuRobHbF+JIr6w0hbymNXkPsaagqfXBb5l2AMH2U84vfb5NSSbAL8ipBx6o3DndVa4IkNdQ+oo4lI1IItAsSk1nFx25JumeaPvxjw/ffbXqqaz1cpYJaIu9opjXZEMRUtAPqgHGwHSRhDeQ78uBHv490Lk9de4wxuwh30uX7wA3Tvj9Wt+reaJQqAmNlt1Y+kIrX8I9GksKGVsRTAFv+xAdz/QXgj7oHUDNXBtLyzjbfA3Aprvs9I3dNpQPsxFiwkQk3IbxuBO4r7aRLlqlfm/+iH7Wdi90+YorJXP767j6kLWPL3/nONYqGBr6UiIoK3FBAA1MycstO8zR/016GSJo+tx1xqyDq2SMbwXSb/rU0REoLr9Ll3hPEvv+k2zblVraUA453CFdek7j8A/889OyEGTef6TIJLVu1e+bmtoFm4Ra5NvU1e0dCUwZLLZ57zBgujMI7aEH4bbu0IqmcFn9+kbsnZiuqJFB5FWxqZWsC+38RH341R72GupQaTco3pCB2ZmEgu0dUk3lzXhvLYepB6HYiTyI34HD9A35wx/JbfAlCaHE/a49zGWqUrR7A4frl2Hocj1AvXyx/WOHQYUq6OIHSMkzzpeWA3Qw+YdxgifFHBH4s9fA7Ti5jesQelofOU2Sqdr+bRn/VI+DiK7tLpUSTmTet81c0er5hDukE0mmemAClTEe6cK6Eh57pXOOtnd98jyyHnPcayI4KOA7YeMxe/GUAXRDSijSTjb3FephEFmADmVNmh36OJAe5ZwZiVFP/WGhGhcg0VTdZLfhOenfqf2tGMU4bKhfK/hxCm7wWrw17rvIi5+P80qvAm0wWWult62sCJKQbbOWrMcc98OZwgX70UvS5j04kVT0UnjXhMGggXqJF6h9T6P/L6chrvXL4ZOucmBuramQ+mVywYJpFLJSDvVr/qlAzxnobfZDb/t30BSCLBES4TWWucGweVeaRzGCa0hqOL37Pjzl4RIsnW7hGZvEolCjxe6CpH228Zu9RdMXcR+wxyiokL0d/9oLvULa/m/fUJGnuL4MRSOeJN5ueEkctCoUHAl29N0FtrDTY3hklF3HzLl/bF/4D2Z5OzHhZ7BbLXXmvdHBYIw9+nJlXwRkwYTH7HolJhvP2xjwH7SeqrGKrW/s/D/HG0c8kRRh/OLjNiTERcq4S57NxTEPBXq+INy2P3QQxUVYXBD0FLCEFeqGrnozjVgE94TY5blQKGRpl/Mtilfm4LS9mTfX49Hv4EAodscTfB6zK2QFdh+ZXezgiEut29/GDWsXVImo+Use/efZvBKPvRg/nqZM/Odc1PRy8tLvnhr0sUyaQRexk7IwgBfQ0usagR5piDJB35zwu15UHuZ9ZPEDUMnQHopLobc53e2rr+2GT2XNxZ4N896b6r7c8/vn7Uk/m982Vs435qRRGTwyd4mqBLPDWnUI6pPByp/yQ52nJCAcRC5UZUchYl2dm6dPrt5kVU46TsiNCk1zqJUJA5xCiO4lKL2vfQCcQu7eIUMTFZS9V8HcqphvhKys59i76ZJp/SWU2Wg+sAiCz/jS9z029Y6k4b1WI2ZgtZb2C+aQpkYR+rjBa5OJQoN24bAv93JAVeCb6t2E/dlg5Umb7kBTnkP/AsVETOuNJDqdfcan+S1tnxtitJkI6Py2g6HxgE4NOqeozvYabKGxMaGtbKVOAY2V+PRX9eW0g7qWfVW/4fZrKLsGI7wGQXHs1CsL+qEEzsePy3xFyFgtvE3r9gkHXxrYgG6NEOuHnOktEBkZFVPFHPUNmFergsimHLFnGOeYxPUP01yv9a+W0XKY1D75X5xwCMuNFP05IHiTzAWJjE6E3XY8sHmMFiDchYq9uYQBHHSpGnETDIg3NAPbDc7/dVWTRmb+MLO1c4LDUk+YvL2MgkDuhcglWppxvGIHvR8dwTvxIiPH1nHhLmQnBplGm4guvIhFNWw8Mh+y5JshC7pvYPA8DezNLTULYP6+4hSkyF4jaALD5ibFf6oP24wUVZzWcWI/ogMuhNCDYPnab4wAagXBVjj3yt+kYJp9EpFZS1QVyuD2Fd4IWK+bGS3d621Tn9sEueE6t1I1ElH+9ZfIOenO0KRhv+uyfBD+hrftmLJX2udNcVddXOrj0x6T3r+xa79ni6ZhwEf87uexC6x4FFyxjNnr9auvl9U3awwOL+0KjM0z+rlz/BJCKAZoC4eaMUUbcAI2I509XdbSRVTZ2l4iJJd1yzIaFt4NEA3y8txADpX9RrZX55AJZXpXG20vEQHqkSSj/6Z4qlhmth1/S7pmlWF5KZ/lcBBm3yOq7NCkFp7mxoeisxOvP4aMM9sxJ/zT4qKy0Vbojk+ODaS2q9m6jbtkj0X4alqSTvZ1v9mYp+pZ1av7It50XSHlDQarCaDgcXN09ixGUXAQMYZAaqc6Le8NMfnVsY8s9Xeqo6n7BvWXEta8us3y1lfW0My8NQZpcpMHIu8iCCLHnUIDKI/7Zpp4wgC2euUMXR26RYyzVTqEaHyklu5qZcXnJramC5yB5hf9Jw1bTRAaLoqSRNxIa+OS96pwCis/O6sMf5GceFZUcsMJRm55XwFWRxDjrcrTUjJxkJCyfzu+wyvhB7/pkPdQcrLryvuqmrgqysovZETSm08Ddu4cSO6Al5+D5NA6WEQkeTjVNLXhTHy1LlYlUdkWaP460UF366QP160ECiJBqaAotpXO28J61nkQBpu6GP0SeELEkatc4eU+TQBc8lWmlSJCEvU8Ly4mKlS9WyvEY+lD6KE3Nm3Ijuzb8ZGcz1JpjIpUmAR8St15JjZSOPTVSG0V82Jx/J0mzGqZobeV7xBqyoyfSxtLMIuWNya4HHqO++CBWv5IVkIUzeBIfcswsslN1D38Un8eLQHFnTvws7LBDd3aLabJcFp0onCSwD386tpYM3SsyYcgKOExf9Vz/jXWObYYLNuoAsHCc1N75WzUTiJBkqRsvr4XH5ji9/OX3zmu4MgnIwQVlhtpax9BaUrwc+4gdkir6UlqK4mWF7Gs/c3Nj3EiG07zAyfmMIiMCIfUIkU1oqWdBOA1EpcSh7loQnxNOHalzNqM/jVXW1v2Ycm9teGV1SwteQFBBT0x+wG6IA+ee/X1pQHpdnDYQ5A9dD78Dt4AK/lOXsEs3XgSNOAtQcgq/SSsjk/0aqOLf7s1Sz8JAepYrJVD2GD2t1NbnPERJVO4QJVbzsm1kY4ry0NCPFyiKGpTdiuU7D/Tsj2wgALwPQODYlm5D7d1eB8Hwkofg6PHUs9l/b/AgpDAq/xOuhdbciX9PXb8bCR677h4RH5+IxWNrY+Xlv9EzVUhRem6ZeBhuVnWAiwTAE7xWWevNRr55uEtqzt8eqgWewZW29FcXy2ToPm8N4+bLZYJ91vUOynpeUTXwMGkQ+e5/y8TJpJZkcK1CZ2CZctH1N7zmbwMLpuyu5zW6YA/TT7gKJxxnLNaqC1ovn1mv4KDpJn59a9uCgg3SewDr999a1qC1j7MyLcoIBeeMLh3xA7pOLDp+BYorsjTTm362hMKcR+edDeQ3jRLoHTWoY0FmTjZY9hetAYT5r2qMquONplajk0PKxR8nhm47vDC+pOAhNtX///lh+nkrbgPvXCBbA5XfraXEl6V5F+mm+cyRgemuC9AHYZ7H3xtsO73LtMGkvBQUm03dAYJpStabf/XPm9roFKvHVPxI6eNVxuYgf4k0XKGf4cuAmZIWymMhAa2D6I6nV2OmXHsdO1RsOC+gxofjkL6QjSvogPc7GpGf7VDqLSs7L0MnL/Xr81JfxM59kXzA/xY+u3whPPFZz+eTbkCp1Ykma7m85kM5lc8Xd70GrHcLyj7k2nR6+kK3oAGt7HYXH1raflASWf2ZsI6pVjOHwmVGicktfgrdP5EXE6v3lfryIiq9Am0ChGhuFrbrRtRhbtn24bunl+2wq99Mf0NGZHkt50wSbycwvJDYci21MwJUK8SyqzOLySBbM7cFgZU9vsGCzdjB7CVvd9OpwC5au6lqTe5ORyMvpgu8sP8Vm8RZrmhcfF+lRvzLzlzYvnOOIaywT6wErrmUhAKX7vKDft46NFVIEDIPYqRAyQFWoy3RCosNdAd0ukgNv0hPzyEMFkFlN56GlFSS0VWjx+AfWYH040YphF2GEBhUYqi8yEwqpdhEufvu7l8GyT377wXZHrXpoZqR7A4pXknydP0PMzTkApu1b+lAk24UuM0rY+zwtbd1Ok3lU2allPIZlDc1pjChJj4jno83mx95KudSKWmKWoOUEWIk0ASB2P/HjTd+c65LRfx+ZJSyAkQY8LevN2uBXhiSF/ACqiZXKVW4ZsNKLo9knr6oobWNZqSb/Ms6Y4G2DsoIGfFog0yycTLnhiQURxXKahQ9gnTsOO2FgEGe1D2MXw237Rg+aRiVTJaNGXuuq+a2IId1/TEUncp109bym4D00eLYJJLZX6P/ddrf6uoO7Soa5yLiCv+dRINdfOybOeC1/mlULK1tD1ZjI/AOqqSiOzJXbsJ6/01cvkcmD6WjMYVe5GIHMXGJMjN728sDEy5wDbg9Q5zxy4aeIC/XGgXbmTqyOSszc2rmbGExVu3yV4u8cx8l5ivUTcsD/ZYcmtsDPEj6aBs2eSHL7ObDbTSAi0/0Vzl1JMD2mPzZrWdSxfSGBVjSOGLDJk91RnXPlI2GxymRWxECD37qbAV15Gmjw0Af9lr98wJ6LedEmHUmYSsosiFLff8G4RBinanEZPmf/BZkZ8qGlE12a2WAYQEDD4pTLzzJyH61uZ8JWG7J4jTS2EnheKAVOvxmZqNYJA5cl56ASTRrzgh+GZCTTXj3iyfy6l5y66+Pf0mNUOoT/lBtbCUpOLTRj948uiTqzY7riJYQUF9J/rrNbK5GT/C0LtANAYJyFp31dq21mxNdOyIciEr3kmRhDXCYRUByobMKoLLrNEotMVzfa206Dg35ZLwObTWgEzNwSnhUfccMiPgy118rH9EJbvJ1HvxJYCx1WiEIKfeCnWAcv+7f+KKxy3SGzEdJHwxsP7PpKRqVmplN7acHHwmqsfl6esldnln196AU6/vQ0V1SaUc8/VKjn+Rm2PtrBlSPXuaetqYs0pLzQNzX3a8Y41Q9OcWCDl3Y0eKlJo/3jqpev1EbBvu9t6GnREQY+94ACUq/mSJh4MKWFxn1xvuyY4EdIap7YUY+QLJOeJpk3MGnJ+mRWJAchLPZVD6iRFyYkIlZz+YrR2VP6EtnIo/yu/5HFFmnZ04K8BkjOzYBo2OwhY5grVLl7yMcDMZBzK8gNAXO3ToxTfPhcq0iWWVU26gxkoz1CZIL+GJrZCSXYZj3PFf1rGQ+wxNl32Orlw40Ox8zh9JKJF4ee5kkr5aD0GC3b0KSHdiyenipkxiPLJ7+/fT0dn5PhuPXl+qbQrHs0m9MPf3qmrgX6w+trF731XNk6ziVkbD4026meeA2rNPmBUKmujMIRYxZ77tGP7VFEqcaVuDYEzs7tZmt0B/Wt2sMHhQd1P4SKGfL+9+l6f8fdBEI+4zRpljf1Qd+jCF4wfbJX9lZxORYSLf/7Kj0ird/yyFCAEQncTHql9ExB4ZA4n5G9/cOMmv0ULKOhfOo2GYh6S+06Z1WimTS13GNAWbxzHIBQR5hvBQF8R/Lg1gp7SU4l5kHW/CWmoYpbBtVbN+ZxRU89RwIh4CfI3lwtlzCzLcCsk9xEpRDtjrIPvRMjn1RVb/7MWsCWO9XLWvSvtbKq3nzDD/904Y2Cc1Zj5HsZmIAlEuHSYiv7QRkW1DOOKTsA1V5G11C0E+Ix37toSC7RUWP1UYy8Qs9xFGO6Rg3aQlhQ4L6hdM7TGU4s2fX8hsoQni2itCUu1q96KQT7Pv9+fyP+37mqsZe26G8SocuNJ+2A6lsWnSShrbo/yUEc6jMi6mjSMgAxYGE6GEanTV8/Y4ULIWU77Sc4hxuHjI/6VPFBqkkcOQlwW5BPwLmRNLnHJHVdmKAJNlMONNAws9vnv7vfu6i0he8UOqH5zgZwkfV8h4TIAQCJuve1bnOSHVjzmd0vA1U8jJQh02KBAQFF/1QOkgyeQpnvk0NyV3od9VFgLLbh/BlWVKnzsZ02C7NmUIP+Ln6ZCkECQtT7adgYiQvo9NpFUzrc2x+nPzonqWFUSEhsqvB58o2wWnzzpWryygAYy+sd4V0iUPA8KgbN+yG3+2qgVb1zAily/jV3Gt0iGyTq9VXTxk4P9WdqOO0dwqN6fM880T3stPk+jUyRwhgLUeEfaNIuQZrSK1KZRTkO0aPC+3x1M1LO26Kk2X99mHgorWEI1IuH64lyNgwJEN492+gKYSyhTpugazxtuAsuBdkCKJZ/O+XdVCIPvfFbOimDgOjFioOjNsaKsOAb+6pP8nTsxay5t+zlvgP6hVdDN3czkStv7/r+DsbOHD/3ZGKxzPzeDPtI+KzTmYWhNBqQjVOC9hM7ieHwPcGdSqqHsoQZOswKGttYzO/NhNE4lr5Dd4EiOU1gdTdxa7d/Vn8iAfPe5SuRLlnFuF6MpLO22fqFBh4IUvXr6z71kjEwguV90RY/e33gjrvkJ/bUA0jq9wU0sMk/Ew2UeovQ1KjIasDMxZVJigVx410XhMs8k267C9nIp1eMN04SfBjtZeodYPM4Tp8usvy2djv+wwtI6HVRuGwD3EsOb7RF99K/uTr22HOfn76e23urx5FQfakbDbGbeF8x+iLVSfTpm7u5nMqa9uPeeqRUW4Hb3ad+426MBOC+AV2HffdEZJi1BLY6/7MmJ+N6lZSwh7VQAqWs+KYTaOHKiLCJC4bMuN9EgpBiXK5avXnc4QkNch7JuK4bRiR31I56APOq8b96Jbu+8Ci0mOE3PeNPCK4QH4AIgD0M63txi1aIp3ICR73i03aZ13ddA/hYtCnH0vB8EFJgspI8dZLmduxEC8eOWEPeL+IlYqhXPo243sfzweXGsmz9HHZYyCas2IPBaTZPTd8HpHisGgmnU3pL+0LmQPKHkSUxNX+lPIAAQe7LGLqb0BoeZYM/IT5aE5ZMYGUivpjI/B4sfntPT7q5nyB43J9P20uePQy0+Wdbt3w7XAlVF6Z54RJJhW7ebsDc1PRP+BBACKTVw0DJMYGdGNa6qT2t+rrfkmktp0anYhoSHr4K0lw/yRHTGUbk3LikimBWrxo7B0z+ihl3ynHwLl+Pwntb9WSE6A1VYE2YRGU2KDuXNTWm+ZUfA3bP0yZY94CVEleWE+WQxA7nY9f/p5tzJlaMwHnO6lj5VrYMvQU7pApVs4UjTiNLk06Z35VEVJvjzuabkJ1ZY3LydZ/gQa/0PJYVkHhwJvg7vUQL4Bl0nRM+FtSwyCi15ERIY+w9Im1mpVsDRw1ogYlqh2HTJSSspm1due7rWQKmhy6M6QVKrScDbAcw8EfjHYWqGFHbcJQbzZHyhRAM18KHaPw1I1qU8H4SgDElm/HI9i8Zg4/Jx7Zua3Z3pVaPbSaVcLsKyxQgB6jxk2CaQnQW8xngflKSG0YkXDzZsDC8S48ExLe2yw6TWSjRoaR0XnyODBWMXB8iHCLUoXJjKPRQBcLemLe8LHFnsAWJptXX8hsFuwnepjORnoTL+mSCPdWjMCEGCq48+tB9/hi2yk0iXNYPjhuNh34xjMk5W84yAgpJZVLUP2emm8imkz74j10AsRe/I32nQ8P2VIJB0l7wod6MDvtaSbcwO76fauwQo5y6/gMox8/ZmyFLspzc3fcV2gEqyL+vF4vSByaPQOOVs2W7/rIY3tQGKZ3oR+vVN5+L/MIbSfTUqlHi3q41R5o/Y6ev8E7irJ8AaplQqvE5BbGM7dPGlC0coWkTSuk98+zmhhJEY/sIkkbyeEBBmwjb9HjI8wKFW/MaEqJz06n+XT1u4wa3vOdvvyWzjar/lxcWLZEKLWLnEmCgHJoQSm1SOgV/YuQdPdjs9Kt5XomrvnhWU4wibH72aEiwSfAkJPe4ih5h1GaH4PfuysLW4xa+YnQpooRKS0Z9k4Wo+Uo3XI8l8vjU2MNuM15TCZrZ1nUOVS/Yp4ZztTU4o2Q73WiFDTYL5FoqnpnIDuIqvgTBj/iOv2+vSeCdp8LHhoyNkd+T4ctdNDes7Rm8gzD/SajxTphE1VH+APHgGz4trD2Tx1H52POrBUDMBbMz+5ON6eaJMivP1dGN+wuktNqdR428oJsd00XhHW+j9rwcOJZtX5fzhTe6L12nMwEr5/DJrUhT6toh+8AFD/uajKowcRdXWQCRmEB6R5VwqR1umJ9HfNGeWtnItD6Dzs1FSGMhN+q/MEu+Dkl4PWik9YodqBgZTIp6tHz51Ln8ISPiiTjSO73Xmvn612VRL6wpPeAyxWpm5CYS3necl6z9Cw2qF8jU2i2EL6E5ntkSqcZVn1uvmXbQmYxpeWiaYIKNgs4RShM6WPkPnQG3Zm0xDQNQ4c+13CpLmHceZs+DmBMm8n4oNb0/ed5jNCSlEkqtiFf/XGrgH86EtTH20/WO65vNoZyGDKvRIe1HGrJu/0/K/Jzcz0tI6LPwc+5MvjNksX1AUKSCSev4ApUdQO5m4t5wYCHyD89omuBVqlpFq7CwUtkudFA4FzuWeqxqYZBnkxjxEz4TtgAgtZNc6TtSXB5rI80Eh07gFMPCnCZijEJs+y0q85eaCPIg/SKXEctvc7JhRInk0u+Jo8RqeCsuTwPre3CRlD0Gl/r5iFVd5KXru0AYbNvdVTQlnCgShaX78noNuftH+Few9t30yzPf6Ig4jDoO8AbgQVhCWGOhgUP6sXYxpqb3l7DSVelIVR1T2doM9xR9HfQ/Bq2zoN282W9ELhTMmFPSe8VcVk7xiaJkkaQqFRCpY3b0xgZ52AbTuA/wfF9G/kw20t7JhdIN0Y7B1YpQ/XFe4cFN/qVlIj+F2y3a3+1u7Gaq9Myzvm0wg/gHjdVpoGvKleSovDbXk85jrpw6uL0QU36bDJHecJ17p21aVKMhbb8413R6+Y9gyQ6hMckxjyKROYTrLelkQsNkhP9+A3Ac+E3rl+sj995Rr+WxU/kutsDoDFFdx9nLtm/+QSzlEqOTBfato7axmbvYh1pSjJX2snovtQYDj7c1DUSuq0RQ9+ik7mh4/qDO3HqRtsW7NQQtE1Lsh+Mbn567m3LpJ9gksCGKm4m++0of2TtCpUWAs8VaYl99X6BzVg28TNFpjKqU9xz3Rgp3s6Pwuu8chM5lmoGSVcDgfSFpTTz+hk9lfPGl2lkRqIG4OkvKG3LhMxLqNIuOAJNavIuHGy+DpqwvufYK6cmFL4AiyzNwZZKalL4pKcdf/jN/XwPvvfZaN3gX0AJebotQFrOK0ESqhUhLSMddM1yuSbLvAstOfc9jh/7G+6RAWQAXuK1T8JBjA5zX/B+VkwYgq+zoQRa6ocmAhEzCTuE0YxgzsUzISRAkc3cNov9oPUx2+B+IVBewt/B+jKWhPYtxpBM1ZQE75SR6yAwKZ3tnpU7vxP9JwcBmurCYaBPLlV1Rs03Mbsl6lNKSn2gnwc8CW7gHrfIfraxqQs/UCUPtnJF8zHu20Fc3ZLzg8nS/FBhabDc5EALeU5DtGzEu98M2i4doliFCZ7wK7sgxrd7fCV8RqkwN1KcFvtnTFXn1bbrNZieXvOz2Hm9hQzlBuH3nPoUo7rwOT8cGeI3g9oRmEnZ98n8jNArEKj/sYAGf0j8634rJ+/EQAIstFMeUDwzakbgdqod4BOmb+3mxNUau3ygx1ctDRWDSfm54XcHtRSzLUNjRuWWqX4Pt7NIGe2GVJVQ+NyfxiaVIV6UGfiwbYM9SZdgCs3CWjY3l1bi63jRVIEV84p8VQn4oj5OtlnWvOGhP9m0pN2zAIBbh4htC70k07GFD9e77dn1mrVVWUx/clHcgQI+MJ7XLqdBdWBPoTcx8ZThk7vGgN9rRVDVm7zDhAH/TGCdWp2mDSQfRipwqPMI1raej755ZWEwUXla83mYmOm6JNCAb2ys+cvRoX/cK4HZbaBpvMP+kFpvghaeTCfFKIgir6901jM4bPGnGCu0uQGGzGi3OwSAvWr0VsTwWXtyVPkote30oMswJoMi6iYm3h5CuOIM5XLrA2YpQFTNOQsxAcAIr1DwswdpoqML7ByJWQlWQPt1mjpQV0sXsFQxAzKmrO7aOp5zOToeaz843zfw+wm+qYyQ+3+5WWww0LwO68FSCuprp6UnQQ8hHtCpLGrWpU9mNYH+9zly/UQHQoXgHu+sp14OMKSYBfi7nfBU98yx65K1CgrbK41NZofM77lSqtUl4UQWDa4VjfqIt457xpvYh4n00PhPvYzEVTJPmbVK7wBjSDlnngQcq4hL1Vx6LBbF79aBFkPW6gqTY6vFDhaQoHR6EyC5QGfOFK0/xWuaX8M1nQFGWtPBmoCPQih0+/WP6J5ygXQO72xFdNUXX20TzPYSt1ucNUMsQDLBFfRAY9d3AVHIHhcUiML9rut8PVaPkyRjBExKd5j5R+HnMvWs2xS05zNV0VjiqoFQlxDoQ0W9yhbs6fob72p87aJXG220eZ41iGEvFqD/lqPM1P/yVAdRIGcwOav9apq+QTad8CjhLPmz3Sg8GQnCEhSOBlEzRNx5ILUxkXa/DDGLbb6lypngdNOYQ45B+uyPYcvDcONeqnAj+tEIY5HjFApkdDzVWOku+rcw+JW59GBGh/sUthbYWGri4X/gNsiLkT3x1i3tuKFDwq4AIcTFvq11Wv64oh2OyBLGsPln2/Emup3ah3qm315sL3RhfKS/QTWL6zD1v7g0ZfXD6ulnFPTotR0XAEPI+nKs961zErxGKb1vQteTM8xMDZW0lUy5TbWA9eXaw34UivQp85kAroXVQcWb0cGxXWM6wcT+zokASPLNKQzaZBpE2NwZJrg9Xy+U3SX7tuOVStiXF4Xt+iiYA7RjdDOWbL4ZCO5daIOvzb+S7HGkOCR2ZU6t08WCVeEPUAXmDIp0uHr84mvECKDvcb1LPT3tChX8Bcl5F+tDNEmhLvigY5B6Hk1tlvttW5PokT+lcg7qmCTxaeFKlu6S8tMzHOV9pk4dr8U5GO3OlrTNLwA6iM6PYmzv2JnNafOenpwODPjfJ/YfITYLttqvrU+CSHv1rINprTAned6J5XEzhYRgega8fQdY3sMHOyfJGA1ycJ709H/9Ed88HG1K6Nmm2AL8BkWp0ZifB9SnnNxTGX2XKc94BMAAGGo+n6xReU+WeZPdFefoa/m4wzORbYS9JO77TiMauLD+Bq/i4zdxaKpa/jJ2cX18upQv5XhWwrRQ/x2tYg0adoMC6UHgYDoMlKSGc1I5G10LSIuk5xXN3lccmOeN1pOIZFnaR8jbQ8k0kw45bj/7SxpYpy2m4uEY6baa/GKHazljeNiY4FciiFH7Et5cteigY1vWaRyEfGcMtb/tcj1ArDS5WxaAE6FLVu+b860xILiLZ/2/bTZIzUwoaPL6/rgM8rZOABV6JbkSBIs+WmU8w9yuw76nCTtfBugOjqPi4waAJ16Dk1S4ZKnomgh4RPUplddc9BxG1FzmaX1pr1djcsfLfpz6tCa2pn2lSuWpV1OtmlXHFVTZFC+xt9xhOwyE5pJFfcjEtDbdI2zJbc+JWT7f9f+ikIZft3x/MAcfomIZ63Xt7BI1e/sO69ARHrSpRu19m9ZNJ2LKKZiaDojBKqu6Kw4rgo/f92v7OQFmk2csAZ+eVlX+UHnqfWRdhxK3EXZtQFboZz4I3OEU21aMVqJ9q3Uy88cmeRaTfz7qXlwvg7rt9IDLCJvL5hF9I0lYesjFNThiMrHT9gk4npJUdVf5kEGzMm794hOl7TVfU7ZFbyzufynROEmb2kktGFUlwHxbOqw9ty3kVGVJcJOodn+TzIA0v9Ar5xZLlIOtVtl2DXjObgznlwYZKbDZ/YqVJxt+4pu6Sv1ujOGHGKhr0PTGYEnOn3ekHLevM7LHDeJ7QNF6SoUqcEOtGOSZNuf7c4GLWFFivrNIJIql8AfEobnuHEFx8NIHBR2s3qOl9OLg4ul89nQmfaLtdmZ4jiiHzef/ZRjAj8tG4teoz/0w5E50Ad1zpc7Lr8aMuG7vUGQsWIL6vwzhLIU8lPASw9n6Yuh4pwalPvUMh86Au3nVJmn6Ge+Oz7eF93h3d51pSIJNEnjhPJkb1BKl7FetjElDBOsLVogBNRH1vh9yr/92dNmM/TnzgvxoqW3NQPfbf/1gknG8sEJIuP0MTd9h6dafGb+hSNbgvByciVNohuYj80I5v3tYv6+rtjDz/vnxcfsRpJ/asK3cMLFsHFjIPQ0QCMJVEeCPtWfZzu4LM7IJE21IWXwpykts4tvaY7yLuipKpCX6vGI8EqL2gHwU6GWmzxfNSgv8/iMgOKizGeMQGV8nVSaZte0/7O1aM9zIt7GPANu69hQUPjcJUDWxXgeNEkSG1WIZ95y46mqikVklqA7N6uSxKWfP3BuYkCy0hUA6KeaMCJCsHu3VL+C8K/hvOI6Z3E1VX05vLHLIuyWqRtlo18KMKN/Y9vb7DxqVxnoMKaf81b5FUelodhM/9QPDXFmMFtnX6f9PCrYf6ywV1lrQXYUCXdDpEVSItkeNlLazBaJbAJkWbEFL69acuWnjhFp5JY2OaSL5HEn7ib4Nx4AgUA36f1qlYPtaGiuodxInrErlJo0Q1HcsTr1jHiVe+RfhQJ3QS17Ks857wj3Iez9d52txUCONQWpaSld6iwQ8Lkw+0LedhLOHnrGhAeOhnGNGvl0WjttUTEwpHEWDg5ISRRRix/zxDJUybE3gg2awcZETyMAVrv6H9Ll+OgpGYdYA6GkSBVz+VgnYuuGEUgWQtZPNPUNWwEOoO22PGmCXRvxzkCfzqySwfO6+yzdVWrNywhFGGbKoXno6IAof0J7QGXP3Z4QAeyTx1NXNGH9ZG6XWhMxZrqXQiFzJCKob8o+i9MZw5Nwja2giXEw3vO066eALVNrcXMGB2yHMeiN2S9qlVPFyC/WXRR1XEO3x292cIuccflI2RgBiq8+gsgxF5vRIZ+lgtgmtDM7q6vzs4sX+lKhGdxKq6LzvO7gcvZ2kJQB/t5TzQB4ODoVQmLvsRHI1dv4aQzlyWKEpYHjzfckadU0KHzEIDpay8JS7LciAmQX8PxZUFWCjqTUX31T16PN5W/ENzFnh5RjX4AY/rkgxXMFB84oaaC7tAurUzUBmwfjOnHuEV7Md4xyUkdUc/gWt6XRse/wzAuJiwlaJMV0dOG8rhqcqfH8K+Li4DW0CS/vUfWd/3BFtBc4fOI3z7xPa8Z9Yhjd3FkDJCzsatYV2GTOS53a4hmbEsdF4nFHASM5+xgi/9ivZoDO8IsxaW7NXJgvoV97Rw9NNX3jT4peVxBEz2vqykLbonRWir1SyrRMq9ISwtPpK1SfzmWrQOFBYdEHoePiNrS5mk3NV9W4SYDldnVZSdNrXEjF1Y/HzC5o0+J1tFNgksqLrBzUUSS2lBiyQJIZQZwoLa0nhWY11AQgdW8Iwt2H+IRyjpAKRxoNiNJ8Di2hzFrI7WUK+PO1NttyylxiajdDShpOEzCD7ewZyWzZpvAWYUK0NJZJggNV5M53Xim7l16UuRlpORY8iIisUcxu2+RuGh2vWYPd7yuDtC6w4trPgVTzNsxR/3B5PlU2+fZqV9VJR8ox5Cd6gAFG5gIYjrV46wnDkAptOZbhk+UgGPzVA5q/DymQUmiCShqrJjVscma/AzIT+l16GW7un/bAgZJ0ojdlR5Fu0VpTVTcUdJgbxmyGJrlwQT4vwls12QKnYy41BLgWsjUClGLbaqjuukEj2GWkBWaEIyqvYWzS1q7MV4NZIGqvUCToZ3b1VFfT86UOXvuAt0AUlDWrihBBkvShJXdOXea58+wWRDBI+S4Bw/qjBUVu22QcKNh696juTkkn5lD2ZqT9LoIxwGfItt9UlgHXhtRwEu/1On/x/r2l8HJSeLnhuDyWRFwAhpu+e3dvkoE2WadmBi46tCOZNSIYQ8mX2ph6gLha6VNKh1g5zTHr28JvKyuTLLIoh4SaIMyxDXQL6YKG3Tj+60F3vkx5U9Y4+qAouvbJkLAPkAMZuJH4LWe0Zs2xcCD5LSI3FP9sItmXuLAQIgMb9u1/kKO0PnT5DTq92hek+SShoX0l+yrPQVO9u6syRI9m9iEH9UbWfXkegsrWpSp+v6tQ21OQUnjFENqZjBUmMKvLCXPEUWquhtO72Y4+LA6JQA5vsku8cYfaadBsMTFpkrEQXNNMOXgRtxfMTQSsBclXXkHyPu6PNcgvwru30bukWvp4XN9Us5epX9swG0ZdWYue1h8XD5O0aMKUiDUyuhH3272PD6c8/FMzJiLO2by92LEM5Ebr7Asyxt5biWSuqHriImSEaPuQ4SWv3uSYdygtIOC/4wjzqWneYBWW4AGya0rj5GGWsrZrpEMF+LyhrJIU5F2vZzOMuhMAy+fa9r5VRsqEeUW8gKL8iBllndxeqTMonxuj0z+rqtMKttdAjffJgR77OpFIIhV6l2dD1KcrrFSEpi3A68uL7tSqsF4YA1O2yyfkfToB3aZruBHVFIpf2TI9GhZ24N3uuz05sWcU+dV44Z1TSrtwaTN/V8DHoBWHRgUBy8pWL4ocCJVJZigXDXGgJWhpN59WPv9CNnCQgyNALpg4JHQD6OeWDIy/XYbhQSxQLbu2fwbmOjU5d6rTaXA4Ll0gj9Y2MHCETF/GHKClPaYvOLf4mGNPq4asaY1x1e5K9NBAErn2ZYlPWqmX+TjSlPMnV87B7miYiv/MfT3e+0sGsVK+zW3gJpRjNcPhY42y1qc6kgs/0oyUAkQgbGzm58mJmRe2B3Gmr/AH6Fa2woIiVI9Rtaacm4uLOqLe8VfpbB9WTAFG5u7qwc3yamiMeXWTWHk66Nt2ODF0BxwGHF/Hquf/1YouzeDM8964HYQvzBJnaM7GzMEZCuJhg11natB/aFKatTv/mLcAeWDXHzT2d+gJ31d8xoK1qx9VOXpRcm6EJd9lsULo1I0WkO7t6f8rEDdAGjwdCBvsJ6y58ikYehMt9nLZXra9kPOFLc6pyJPpTNInAyj3ulKsB3Qp245ZpiNTVOGRsTaRvSUcPssQwC8RP57QleGlgijPVt/tkdx7g0siRN8u5f+vZTvIiwxGv9UJRrEAibWKk9x4SyHwVY9va/wfCFcskAxSouCFvu35kZPRDtNzPx7tr00/SYyJQPJAn8WZXR1byLmGNVsyAwTac+y26syawpEqF58g6WzXuDAIxkKULMVJMjcf5E7tqRzGsQ/7nATHby+WogolRv6Vi0G57lSviiovBqURj7hWc6ZvRsjH4ySqdHl7+ARMhrICTZlhU4npuASfV+BPaodUUWQVSbxd2uuHD572yYn2eg6PWp7eX+aFsiIqU+tRXZBcOOjaH+CPxlgmeHz/tAz6PUnoNwRvV5AoZ1Pn/HCNoeub0oS3px3g1d4OZC8i3dvfwHoSOEt3AQt6lXSH0sr/hdyKAgY5E+Zc3m5L/KAhcynBrXGewG5Cnw3Luz++tonU7tpJOHgYcKRLPY3Xnv4cCzsZ7zm/K/S4C14PyKvlvv/fwTfm1iY/8F3geybFNd2nVMpeQnVOrs6AW8Oj9JhD8fMXWvwbuyzOIfUcVO8p0EliRWOojuALuyuLg+rWccj9lnQviq0GgC2BmKkSOy7YIucR23z3KyUYq5oh1Cv9cRHSyA+4KXQ8/NxAhUh6iGCNZ5U+YwrElvo5iSbpyXj/H5UL8XqB+nSwnLBmn103GgGd15ewLLl9DwFiSk9d0L72vqDmKW05WCJaBnAj2DbUTdH1xCeIy4lJbt3oDRQEuCqSlBty3D8jMryIMVUHkbne6fP/7hTfGBz8aTDRT8CXAlgsBCc3jBEt+EquM4i54EbJA9LV2H/fvs0yQg/FnIYikgPpHrS+kQ8fjQI6vGQCpncEjA17d5kwMlKTSL2ZHtJP8o9vokljGFHYLB6qpjF6Iwdi9RwfX9z4+P71zW+bYvfC3wOvw2ZzqLADg03/aBEti/S0WinWoQHvBclXcCygxMsoQAnwzdxxQ39ORtGniqhKP4AYooNo4JoRfETCUvRT9//Hm7SxZmW3Y5lAN4Iff54boXuJCOVl2edeyWXxQzDfKZBFqMmp2GfnJSYogT8Zz29nNta7z6BeXTJije4X8srR0hQ4UvBC1brW6vZWF5JRaT8povMeHUlfNJZa8suITzqAXJ8aWiOivIvtQftct9QEISZwNhKbhdYkouikpkMhYNDtE5pZmnMfyhaa692+aJjc2754E2e+Au6+AigvA5vGWZcRf9Lv083rinRvh7ZzH+zezXBZD8kqSyTIZwm9h+e+refGTs4VpnMSkP0tv3ibjpkVDdf+jSr7A1OVrw4f/pJVlLi0k5YD2LYSv26OmYFFPjG9iO8JfiGmSqgJxU0DPTS/tXi/3j/UP67r4Rx8xy+wFD6lLnt0deVHL2n0KBoTknaOnGWFo/Zk/PwyZvP69lAX2upIacsCJwyZ8FdBAUWBjLSnnGGn1/sOvCU/rVDcetmSPAaJlWTxpcjF2PV6tRpq40S84o9SGfbIrmeu2+D+DF5Mq1dOpa2/UwUtq/dlAY6JUHPdhycXOG22KIQ3+x/iuLRbpeFWVHq9NNpjjqj0B1P7qdqb2pLb7u0bvOXwOJIyN8sGbSVtmoSljSMqoJ4I1ftcyWU1AParlyKRL6Hdk+BM6kJ+bn7LGTGHiUU0+vK9giXeKEbi0ku4bETMEa1tFvuf8eqPsKBo/MCbAT1cLbq+g38E+5XL1gi18UszfAp3tbJoFtQQ9wtM97AxdcsYA0DoiS+b4CRecGhFU0MPhpIZFqvEOS8sT3lZpAaD4QRAt0pKIRMNoVL/IoEYkLXa1FgM5oYtwMwf9mgVQehTMqz3OHEkIdFt3T2boeqRy/8ib7IPy8dbmhjx2VYxsVXGVAimwqoC/2mT8wJu+RR1N+J0FmmhRW0mb4Z3SU7njqbd5R7hajb9qVYCm9wtAboNd8gDWQxAmYmty32x7zpPxL4ZsQilbAmyd4sA1FO8S0Q641QDCMbBEWYtfgQH2DxobU6JvfIh7ZtX4A6hMGkpa9E2S8TacAZLKgF6in1t0DPfEc5NwUSe8Iuh5PzbcoRKjn+Cx2SVKMQZGiFlZcUlHqAR0JKbdG8bhzpA2/QA+CCoqWTbw/Whqa4DpAo409aFz/hSAS/2gU+HnnwZyBhFQCpiVE3Wvc2WFZh4nmkVpIRv9IeZMwiGJ9kNhXOTyyrIPXsQYWGgslva/x/No0BOJG8k0pYLjXhEVKa7rbvvb0eZoLMtbRx5850wH7xIrPYl7pUMBv4kJfmOEpaPJp/HbiIYNSFbEEQaUvpHwuYVaZt3hpmTiLlhqWsW8pL6nWQl4UqdFX3ZxnBXNJBPXeX/ilTkQ5fQYKVU0GBjseOuk+rxkRESgr8yExVj5eVf/6yEaTjiYn5bAha0p4hmN+L5CxEbR4DYqZTHOCYUy9qLG76T8Agd+13jz4CG4OdZndlevnBYccTynQ+EJIrI+QlRBxeELZQMa5cWyWc4XD6CqecGNKTKKk2CcPO37Q6jYJugh2KANc3Pe1YSUzsLX6Kf14MTvcTjEIby6mcoILnqgln0jEcy4b/9v4wqwC6cQiKGFN9HF07F2AluUzIDzGKCNiPbfmSHzyknyR5VFe6xAgSwepHv/KHpE3qatPYp+Xdo0yORypuXOufQZGcDxwIeZ5jHMJ2zSfLW7+uoyA4/jalc+B+FLZisqTIbOdauZ6k99TTSQLN7ypE49hTqEd4FxF+dy9gGDnXkPvhrpp963mjDhie2L0yVUmqShC5W7DLW8kAkULfA+WE4Z91jMHeHbF/ypvOK0sRTXqAoobkcqlxoNQZkDnKTnATf8ODr5Ja70xUufjHj92YHa+kTELk37KWTPJ1oTI1ZPL3wRRystuElCKbTsqr5krTLrQ7FTznj5tcnCX7RsnwAbUmqe3rEuo0dZqXrRc+nW+m7Z8TEx4MQrUZqaAzrEjwAT62mthiQBBjoZHv0/cmyKWY520Fi1DEdfy8nwU3qmaxnQPTB0xIj20eJy9C7YAkstLYYVeG7ZD684/Bb3+F0tqlctNLN08arnAurMLoQKwGuNyEuBz5aNKHeegnH+aijDR47P5rwfM3i3tmef0v03ydyYDqKJxa6/2qbcJk5xmveE5SGqDJR2l/OMDj9CrkK4AuvBXikKCExBbem+FPpWJdZXEqAHoJvdVPEqiWeNqMVlYkWev6/eyTBArxKCQdX0ozP9miOQRaQJY9NRYhr2EtSqHhz7iiIJHIzy/7Uuz8n8TMgd/aqL0Uz5uzOFfzMA564gV5trM+5z5jq/1qrMGJX+20ByiaYPF6309W/SA9srBQsZ/u3BxqkaxJk1aO+byTYj9I5tmlo+GvJgw0TacPmk8yEmhZzSY9phSmhj6p9pCCE6Z1ugYE/M0Oejl4u+CP1RBNoCHPMp/qURBBmvApwLmmOQLv91dZih00v70adGGvpsh9i0Fi3U+PHOepW7chAmmEQADCBwPnk6M8Ucb8cw+J5rVM+BHcO4U+H2yh9cKeEhzAgnREDDq86AJUWElJGlmIKKnoKzZYcIuRJpb+YdsA7Ex8Yi26i3Af9jpUaI0K9ZoRTKI5oeaHuwcJNLf0PLcvDCniNj+hmZeTkJRyxc8Oc4z2FkIhT5m28hshKH0ejkm4BaIixpvv92zsNieIX2Miu0K0cYVwVkhzjK76pC5x3gfOPtLVWCnQxdghe4T9oVI0MeRNeoJGkH8+cnCj8A9DyqsuozI5uq6eMKoEXN31AvmqhQs12MBeuwf+7fVS8nSs9+KQWeevYi7r/GDLvFRiULhTqMI3VoJnrGx8bPwFllPb4gShF4cgf3p5f7slthp83DtwkOTziQ1uSlbcA/Fa7vtbO18Hq3TtZwmp6DA4bbVocy6USdwxmFVwcH16nDTRpDSJ9UkcXWzHCu0m2QvwBvKZr98zw9SFFDXU59iuY5SKwtkOjNBAgTKszns1LMFQQFuPg1fec985TZTi9nf0DYEZqGKR+Wem47obo01GuTr7ViApwByoOHF6eF6sBQ8QrGbKeO3RNvNMMQMQXZOZrfDgVNiO2IEV6mzPD3FBoa9eBzRMntaDV4XlOQ9mBd4Zr5oXtGUnLTkHDCE7lNxWNJda2cccsAf/TJQ/mH0gDjQWMxXA712zw/A0qLtzfRlc5MjYfZDJT/jgh5GSivyvFjrpGq5GjjZfmY2Sdjl5q+A8LY7oeqEfqd+MCiOoBykxPskUi8s51BFvOSyy7aHWfGTtc2zU/iBxf3CEtHoop5h+jAdAOwenps4D/NFDg27yaqrNkrEed0rlnifA/R7CzVbDAHENDuFTkJ79AAzZRbh06e1AHAOZXdTFo1Z1LmnG9OawCIX2tnGZMVTcv8xsVGLbl4y7l9qoEG1zmvXttYBcMPOD4jri7uh4HJKOGGpsyD6XVcz2KdTWldQqVRPAAbHeoK/A1B6DgtmTiUDldzKI/fRurj6zIfNFyPpJHdMKNA6asn/IxegYWl3sHswZKexF4SfBsDGGmCgrkwU2lg3NFH++U8vNQo8y3eqzl5osfMfG6s3n5T9Qeao1nDArIcJU+I0AxZeHJPJHHACjfBEmI4djed/il+RwreyWrLiEp5YTwGNyeDizMjdxP4xca/PUb+69Ish9dMoRIEWYJ9LuqH16gSC6rYMN9rzjDOS/Tz9epoSVRV6R4lEtqXDlTnywFjeWJSIN7/Bks0nBZu/sAGnOeYO96o4czJHkAehcsg4EvaID8FVNHmHIKRsJfoR1kTX0Icohe0GmEduRhaRjuFrdtd5jTJmlzrz/8/2mKAbyi3XqCHgXNpw4F3mCTu4Pk0IX/WKjPxnIsAmLdEyQUwU4fNAGDpuqACHDns2n7PCa7BXwkA2GsTe1GCpsHIDMyvrrzfyZ1maJmaHkg49q8mfetgRXfNgtub0yLH9Cn7FiFxbVD5SzCFlF15PU9cS/E4QVhkmAaiZHWN9RglV71LTK56bcaUG90esWRdxDctNfVNnenV8XNZKuDzOgQrW1TzOdHjY5+AipqYXQPKuntnvyhmPt/tYZ0f2fNWviLfOfLcLtDt1D8NkB+HHSMDhVRfirpWR4QB1xHF4h4a4skWS3X621fzF9JreLaihtoY+q4C54eNvDnPmlkF3aWhcO0jLWGdn8NqLTqpuovfrk3dIrXa5gPLOqHOtx5p3f+2uLfuoVYUDtrthu4GvlPgdTaKyUIyIgT9iImsCtp2IPeFJkG45NyHHXGTJzKl/5cKfvVfHSYy34EnPlWhZAhWsZY5Qnz94XWs9JV6hdrs6DgONagYRlLlYfcYwvFw9ZN8WVStpMpElJ5MwGosi7dRh5umWsNb9lYJE74nNIXHL0b82547talOYPzVKZ1+FhgXZwRNyJmSRqkms6Qw3GdaiAdhOwc1cCiYUisdiEY7iRAQZ0lgzbi7QGSYb/Ra9csYpuHqZR4V8bxCUmatLIV2uwiuI//TMB+EZRQgcfa245GEAfQ7fGr5aj6YDDTypb1IzMZyi5CblV5v74c/Hdet3tPz7EiLav2oGT0ztm0LenYNixIF9R6n4ymdxy7iXiVIdkLMaPxPhNatyjg85FWSEP/tKcESaOEzVW68ztzNm37isjaUiVNgxdfN09Vp1lI4yVrL8FnMrp3OYCrQRbpvkYv3pSMMQIj6w3DcWIWvMuIFvP/rnnm1ElkHDrapwDE8LMAgdfqVdq6S0Jk3/H7Bi+KZCBBGXbnaFrs3n35IJRzNlOmhbTYItr8cOqOTyt6qGxle2FjlANVe8E5busDZzPx3WIRpBmO0mrAFbKV7t7Ugkvv7u9xsvH3aAHje5yPeANOWZ31jr/AnAmMY+LaqWliNmu3IwDiCyYoTZ9MKN1OiaeHk/PzO9TRaoDU+rnwXLtPRZbzaQ7peCwh6xarBlBJDQYUPAXlMJge+FfLyABcrUfENCPHI0iHFqt0vgJ1sqFR2N7jd0Ow3xo5XfjI/GqX57yL/SrorEGifkHAvZNbZvnm0NWZUMbB4+mKbIU8U5DPQmE0WdgtPtUVyFerFXCmJaoEDIduTXxJllQUW++7Yy/B81dw1eE9FMKgZkb615ADoMncu+hBXM8MnIhfE7JoIfCccyQRQ/8NzqQgHfZBLUdOYLLppQk0gp3cDgGgxzM/NtQNAq1YjfFOHpX5Vp9+CT5FfoT5tQ228FtkSBWnc7H4ZmqUHQXEzOoA0QMEK0SzyN1Lj7Quut7mjXgvJJecJhCzcWhCqhiBK+OOi9ZTJar8XBfEvI8mp0SU3BF1S/RKAtcBma7Y+3nI0NmmQ6HUSLv+RukKe6PgAsItecFabGzosoLleKDL13JneOMuweYOdN+yHApQnotsdZjUj1Hb8G6PPnS/W4EaMtNDgb56SULja1t6yryNenLAaDy3KcKXvh1wTv+IUIJje9W//j8pe0z8oFxdcZCVg3mwA/tPnTtFcJAYEGAwkhodJy7mG4lWrMPsIt1U7VnZie5E4Gd5hjJ8JVV54Co1xzaxlW9JDNvmkPati2mLVfRcbYZke4mtRX1Z17veIMk3xO6BjXYNwi9jE30Ko3zW+BMHBmoMy92PryXhg48ie/0w3dTjqWUXbrtApOtdYYUkNA8CnnOoJ+RIC0/aExbST/eu5QrTLSgLIV6RL00CPJuGTr1qUUwMsdYeZTH8MC29IBBf0Ib5jD8TLLFqCmtBY5hdWsfxJhBGLd9A8tlQtVRDiT5Pl1H2t83bMcbCQuHpgtCFPViAVN0XKCGexx250iKjeBZFt//DKdlM37rJrootDmyU6DkH2VLsP8bOqti4kjO2sUS0k3udLXo2KWzpfMPqI2hSuppw+MUKkyXvzg7T7BGO7LwdDsoAumqKlQcpOu2VGZcdfA3LHCy7byai0/CAWnEbx7ZIXlrYV/z9KRZ1K0E+Gfsw0AUJD8xc0WukS9p05Szx5E70LDf+vWyobjKP+I16chzKHVCp1fLgM5xaNp44Oimb7CKjgkktpFJ8nXoCOWY5e+QzqmjvBeqefwxuu/wslB00TTlhiYVHhH29jfxc3q2U1N3s959jLR2GhdVebmd2ahaF2yEVwtC3IY7j5AuaAszjwnBB5BIZ/kivKKZHLQ0ASrRM5YzImTxl0rMwGvv2cEcAxRMVYGJUlVZ3s5j3ueDWN0vdORzi/CuehzGPQTaMdMiDilfM/j3+HyMBLDudgZNi7Gjh8ACzpz7ulqJpBph7+vw4BRVuD3zvrBL0QyB+umFjtk+16q2PIO0+VSH8HIDTyLlML4N+vgLz4wRC5NRlJ4Xylw+Ley5WCC/kcWyxnY5z5KKtqWK4RyS57Z0liOYAmUYJECBelL0Eg5jna1IjkXJKAU9DOaFbwzkj85aCqlN4CECg1FPLiiEq4RNWbuaYS9kRJMTksV8jVeIuCWLMokWPSlLV5nzkrKfec0fecv2qPmLF8qAYBlOqd/+3JNWJe5yKAgoBu1G7Ecg/GfVARqCTGRFxumPNgffL3hgHLYJ+RvdY0w5IZlxbHe0jr5bsHq+yE9YJ27PKf4IYShWSRlXr+oDLiyAWfnDPUQepYLVLRTialT/ESmQPgz9z5mAQgXG9OMG84OtrBa2SZ8xdbqXlcyI+hyOZ0frRnA1BNsmkkhfcqLSsoffozY/WeGsC25P/aT29GX7Y42iEKpp7Dw0vRJX+SD2851CrLu3pqxvNXNdOitX6VBEWmYB9biIrGbfjdB8NN1W1hHu0h1qacqGgaSG6mZSTOeSl5zeDwF/n2+sMMUg3JgGvdisc7J5FLcUXUAcCWq/TXsqCflW9MAIE4uvtp+HO1gej1UBBfkUf33lleFoGLjX3eL5VccpoB91USvKTdUfDRsIxLL4el1G6Xdn2I9EQguynAwzc7fgv5+vpuokEcWXSQh6tfTi7KZUYWIDzm8XKQEvEmCp9Oxt9h9AW4jaYooPGpd5kG886shHPWKCkzkj1uImHBkjGx3XyVrXoY3q8G40DtJ3O4FncQWh+rHlv5GP4lzYH+1hhG8CnWMpv0+Kp+f6ZW5bWunBGqVb9qxXPLDl7Dh1F06uOZgu2yu4+aCfrgEj7M2TtpD4Z/SXTiwSgex9KTb/UhVxfCHt9dy9u/UWKe8/YkjBvJKoqEZNKSlxJVI5Z8W4RMi4+zhtG4+srDR/vyk3wRe/nZ2IVSgMOvobWMqak6bXTaShWgpMqhVJzZ9XxyvjfCHR7d8qjMlmV9ilNMWbEfxC0nfep0dhR2+ANwXuzKGReb81KS58VJdaxTDdKDzqjOjYI7RnCBvtTeAhCsRaMkLc7M33AZY2rk4FyWG/yHSQgRlqJ7u6nu5KYUDsLttUoR5h06QV1jkVW31HzHKrpH3sJPJBJN8rmhaDwHGHMHcoK0VMC0eiCtS7wLFzzTJqeo6u3GM9Np9jZnbM1Ws2Yy/L2ZsN/T6jdX0U91eRsIOk8PhSG8OYdKdESwQraKDaTMcHLAiu33k8xc88Ezqr9KK3X58Wxu6GDuI1Imxth/uW+bRmoBKbpImpmjmP3Wf8eE2Neur2NLCVOpfD85B9f7PX84Z4aK4G72s+Qc9IspoBqbRAHbpgID4Ty0Q+EbfjSp8zeX1dkrWO7RBO7wwT4VzqPb15XOF+VckSiUPyBVuMUHKu/v1YuUZQSVr3qp+CMlH4PksJZQvBndkVIm9TjjOB4D1QnmYvznvketP8RcytEwhc563ErQNT208pH5VetzNKe5mMvOqxk6xl7pQ1DimfWp5vZDp6amCI7MIorFS8iOVs4UeZBfIJX3Tsg+IhWjSU2hMMOc0BpyBpjsY0GuYVSs76tyCHGIJcSp5vZtALAN8deKRPuOJn9d96mr4PXQxRBYkakuNmag9WLRgzauVh4cjNTgIstrGzU8XuezjyncFnnCEqQEcxlT3eKLgmij0sE68uv5oHyTCxYBGp0EhJCD9EBxTxGzP6tmt7F0H7+aClH4Gs6VXXywB9HO0xDawJsXRq3ZFPEqXXxbvE1sJRSPnMjQ0Dx+wHjcib1I3duDk282+Mh05HxafAJydLDA6CjXP3VO5gegO9Gmp8IwkXdFactsplqr8TzYnb6axq55kIoa9OedzPSe4rsYSAFRuWu3BTDxzmXsxIKrgL11ZPVWSU9s2GzRVMMut4B6lvKNaovl+cXLeOxuDbkA4iJgNl92HUpshHUESI/afKqOlBRmH4qsrNg1CiHisvKGHk+tpnM5H/oB6+SU/OrLQRvATa4CVOrEB5rcmtYe9hj/+F04ZpgSlGHt4TgxEd4JLvMbxJLa/y9aFqGN6b9rjGysoYT+G07GGndNkF3g7ZS8Spb27cnwYndgXVUAPJ2tjIQODmiqL3HGfB4H7tvaYNKPXa4RlhQ6XRn7Le+LnopGvDui1XbqDTDhDCw4yO4OVnu6J4fA7JFh3eh5o3ybgi+fNR63Ni2a4vEiIBbvpfW2XGoP4cuVu8Hv+RAJ7KkFrmCk1TSSiLABeCZQM+pW9nSMbU0QaXYayqwLJT9SSsZYtZ9cwbZTogfMMsr3EkXlrO5LFgTa+1QexWBe5mpGMLd+hq7iUfXn56rSMnKCYmlWdb3j8tSLVrxumCOt6Xwtnw8hfdOayQK0djsWaE64Qn3oobGqaqEEMO86U6+vhJ9TaFYCYwHctuaVwx4nrEzMdVYVqXT0YCsghEBjczvD6/dwVYXsMFIJqSf0FsHPKzmndURkN6yNkfDRhJOwuc+vYkhnUjIvCOAfWjvgQoktEbrHAr8Wamq6/CL0PEf31bql3R8j2jgneCaYJHb/isigWM3GUrseSd+jkrt293nhVhNBpW+6lSVsvIYSaIlFgJnHORvI71ZJU3bu4I345ud5z6Y5yDxJyTccQEJa4Pd7FoNA0ncesSPGTFmVBVUHlpL1ZlWMXCiyPpy6QfizJGLwpzYUm59UKsKY13R0FrpyRc4aX+LDyb+PBE/HyUsN/ps3Qzirh3GEnvcPLkEoGM6j6umFsAHBgM0PI8RRRCRJyRtPiVIGkE7HJSd5l7YSaEPmx7C1NN/oChOIDDmIL4kLMjY05yRiICOE3JCwv1njdMNP8H0koMMY6vRCn9FHWx873Zh6+4MaL6hplgeEWmgQP8XSjCmlmu5bLFlzLaIaBhQhaveOTfTiD470wm71BVR44x7OhUWVQFUnN6TFISUcDDosCm3DosyIpzihn+PnH6VZH4Vb12KC8oht2LO7z7txqqUoe+eZp48/W1vuU/a/hOuq4UYDd0xBl6tZkTfSUuIf8CXY66i3fpvei9XeAsVaFbxZZzAGCbpTnVTOnae2dqVtSe6qWbtBdpLFekyRR9sOP2jk255IM5Fu9ib5zTYWl99gHLc2mJfSAF8J3PgVHTkvVbBYs4Al7Eyp4QwlCY1Wu7yG+gTb/r+GBQ7BKJrP5vULLbEDfJXOCcQZPdtHDsTjTlobJIlm2WSlh8OCgol5yK9VkbodRT2S1Qk2ECkNTiOLNYT69g/ZjLQ+viGUaB5QSrtLtww5vdjP2jxyv03XqrcBYZgpgTqHpMxkchcWD2MoHqKjKJ63Cb1Sq8LHFBxwH/4UimV3nbwIDHnzJYRcA5La82gRofH6cVoxBOVPbWo4xKirNHp/6CdVLeiTBgm0i0aLJt2nOL/gjctVfZl7yoACZEXXTFup8WR66+ek+mwaryxLjptyn+BdKY5zoh4ASFIfYNJeY036CX5cbJ+Ps2o1YRN5TFMD5OAVziXGpyKAiwKHEt7gv0ZTQrGRh2tJUQ3UXvFtmdHhFkNREehqzfJj5F7ruw6g+DSsywXAVMWsmjZD0o8677CAGQNr4JJAbDvg3eOqLL89TBPPaJHGMD0aA0P3336bziruDRGbutGt+pPv6FPgyw9MnG/PqNug6zZxaep6LUcGeIZPfm7EBjXjLhYTwt2KmTeIxFR7xjFlITjza08G1BLqFQxniyTFvPTSwd6gXjX8uBgQd+UGWltYbqp1WKwliwogr6UAkG5HmPa8fCtz5ep5YAxOgldJsnbp2r7A/AdO2gOORqD5tK50Uc4o/HUfk8vC71/iVLg/x8+NySPADKAysx9ihT7Zyfb/xg6k6+KKF5YcPWQxmoL8IZLm+zEKwxfLHhGqtn+C3j1cf1fbsEuFVaQghjZAnW3TfcNvLnxLPvjMrhIa64czcLIr3lG8P0x+TmoH8Rvbhg5BrEGXxiCL981pHDIXUXjmO1xxqYQ013MWoW0cOC7TcReSTuJg8QGCxoUm0ztr9LSALaIabCdvHmvLBbhO6YPKzpaInQC/wwHNXEi4fSTQ+5y5OmcG3a2NqvAnacV7soSySondFC1O8aNsox5nloxULuSUH6W2ZE4SH8Ipc5AqPdpK8Kb/Dl1OxMdnwJbCIYCuAa4f7cjl14KPQ5iFcPgHi27DXhcsPt5EDq35fYXyKpBr0ZVTk8CYwG2sjAR5aqQcnMGF6B1vpyvoB3wTuwT5omUCgnogo8GzK+Qe0UIeucpIb1Ae7l+r2dtgv/ARO7KybF/+EW0pMlbJYW+WP1FfjMvr6/NDpcWhPZ05tj9FpD/oN6oynH++zrsnii8NsEg4pUCXo8pM6mGkA2rqZ/L6PzdvRdB8AFu8MiftBjsJssHS88yWjEehFWvfHzhA8vghpajd2zR5iTEcBQADZLqORyJ59uXDe3wItOUysphtRxs+ZmYwh/x4/gLTs4oqH3Y6zex4QMYQhWewWGG8TWKAl74mDM7NIEbNxtDs/QlX/T/Yn3liPylWL95D9Xgr5gANXqiBucpfWn+6Qupa3dnHYn6+AgWEFcP6RBfzzNpb+5ClU3vz+RdFdehZjjrfTL7VJvKpRPfM41H7waUbLdb4kmvsDouSPhHBAzvAjq+trVpzCS3SexyDbFyIjd7VuD1etsQRsJmlSnD/FsaTWJACOEkANPvCEHXMgXmtvtVKI5Q804uq/h4z+3CMKCWIZGDyvBXlA8yEkDmc4aE95rQtrRdL/UBJ6ughgO+vrNSr2xw4wGhMWYykcDhb9nltlYODxpXff1WfgEG1NRk0WEgTEG6a9kOvo7owB19oAZ4YW9GDScTGmoAWRM3PxymqohGgd0kbWZSg9WdNrhQgUP2EmdMmQGGXKMdaFN59bAZ4DfU/69ChkahBWKhULJ+mjV8OVn/fMHrrRTIDSDvgp2z5CiwXrEaU36A+EeSqaUSa04403cD1jthDvvREN+mtcdiivcWZebK6dvHW0W7VC+j41/h4hjqn372aAVy0yibg5JSnESD0w77hBcDQmp7BgoutBS4D6pCChj04QdRiqO6dBnEIFMZ2SVMzBI0D4f8t7SZZAwJqlELHkhGH1C+5TT5+X08JXKjwfK5Pg6f8Vt52e2brdVCW8FvCZ4/vYD5FSMO3BASXbXTaK+W+dSgkhx8RjlHUWYBfGidIIWPLgg83QBpJ4dEptsEzHj2KbZMeS/bAt8LxNGlT1JrbfaDwgXcwdNpiewTx25jdMWqKpw3u1Zz3jq88LIsLgHIRI5COGUdeGKlv3W1cAWfpqaOj9Gh6Zfis83lMrbrGXBqEDyX6iPX+4jt2Rl9qwaH8DEB72iJJMsYGDg++zIOt2MIsYCM8gAK/LItKgffSZQBbrLiJsDRWpr+WIpJlMht30CIma5JkwBEKhAU3rCPE0MytDHLg0G9XY5ZsSgpNJv+/Nj4sB+LrtZQ6ZctHWVllujcZj31Cw45yrgwY0NU02ARkU73YDtVBmK1IG/OHbkG3Og0pjQutR5cU9W4cYAAqaIuBTZ6vcnN5/yYXVENrWxbCY+S3KHezQMqjroIjNDLqsX16G6yZx8kJOGuFMtzmxE9fyCwPg+jqAnn9PgzbukuH3FIx5Fp5JhMB3mwkrzTE0bRNVwLObpbKShhkgErQr+bty1iKSWD50REUrAYJxTuy9umzKYoRIicTHtJl7zFv9sXeQNDVzrnyc0aoxJNIXxp81aGrE7M1jE2yTs4eZKyhtgLRn8hadPeJptgD99tMK+5MURIxc6EemzFxmDv5VXIy5BmR5tfqGeWOy/MZzn/Ng6FrI3bD6D5SeSx1viSFrm6V3yEci5XJ2FmS+7id88rQPbu6LQMY/iHXyNpFDQDRqVYXLflw6Ks4uweHm5QOgivTN15zPi7qygdKoyuNSstWc4OiEcAGoV6HLfYl9o4Ocq072DbkX4ihXCUElVn/rnobx5fFfVq05w/GuZt5QbmMrsxvkb5256pZsuFlssesO0T4OPk+rKBlfkehjfcKcIBG7wfwPSp4lkv4wSTzbd4NqsWLb5ACIsmH2PzzyZVHGHKYXHwUG7wNN0oHTlqwkT6iF8RvMGPtP2JK64q8YdMj9Dj58Y4/LaFpzzhgOxOlz23Q/gEIJ/tKIABoComV6QNWhw9eFoiw1Fq2VJ0CZaGDLCDQix6Gd/oNOGE2A1tXkwPTUCJnGAI2dA/MAP8a0oMaDMOhFfy42ImJmWqFlf9N9VxaR2K8UFoCfFNAtHY0r34WEwx8KKuIWCf1loS+28PUa0DPuXGg0Q53+Sg0dPtCG003vhoor8xy3uyDxY6/LnubK76Ipk6mAdTNz4JYqqrP73kK/243h9Xf0ojvpLMXLtLnQUs+x7NriA4h2nchPGl8NdCNgjAUWOi1HJ+5DJSZSaP5rn8d35QJHTzj7Oqu5m3kLT8RFhbeimGy33IF2w0PDkq0/T2xNa5wYc8A/+sVF1Z6iMx+dhXLvoZb05HPtdDWrDAbLVLRuyjOpm2fpWWsjQz7iu994fNre8A1GwtoE4qi6cqpFVyN7gO6BN61+QpVm/8xyHmjWBLLnCaPzurSg8Dt8g7NMywdwKU0COqYbqY7rgwEJKMm09qY1eRsqxVufHpNYgRup6BEsU7Uets1wgx7l6Jp037yLKdbFeb7uiN+x2LpsGz/tee5hCEI7Iv2UCT+9oFrd1ZqX5R2xrmjOwEficLFDaqo2HqrWqgN38pvI7FV+8QeQD6Kv6Q9Yuf0q+/BoLAKPY8hILi5Wr2A917yRZh0HplO0LbnTcG+tj2kR771diO2gsafUYtRhjIaJi+Ioa8oBvi9iI0gyZsybUWjUCQao381PseT1xXXG7CE0RF07Th+vgKzjRtpQap9u0iTs9hehuxQWd0MkmZc7rwP8Sd3ctLr4QAX7s3Cug0med5EWIm1CvVMR/Hvj+40G+5M2gayGdR2N1vd446EXarORkgVJhO/d/jPjfWpBtH36pIkAKrCDpGeVFJKqfKz4GJvZeAsp9PM/2Rl5xJw3yzwQNovSocW1UsqXaZ1biJXPCwlScfQue82iEh5gTaKu2e8kssDcXp3v9Zl3LI2fq7TnA+9nRiKrupW5qKSbyYXLBwKy+jc1YDDxVZ2Cm1lbDObnMH3uX0ZAUNt78r0DGG2/hBWEbtD77QNHD3jgSV3Rblw1svX3w5dEwTx2C0JqUZS133qkN4+HCgKWhJmTfm3qbn4TDbJ104g/FERvp2RKPmwwryC4hW8TB+rdU9Wh1r9blPfQB7vdMe0ONSGG31EUo/Ky2EWd4Gl6Yqltdhar5609c53JudvKXJB6TqoSol0vvGfUWdAU/U6e3Khy0i8WxZB4niqGsHusxdjbCLj63kPG2kmArh0jOXHfVo3kRyP3HVED4LrJQ+B4cvWVmgv6IAEsP7CSRi9p3n0Y4DV1je5TrqI9twV+oguNC4Z2PiH6oEfNHu5H7duHzHwj9U4t4I8gAcmwTu/Mr0n2J6BCou83mZABJJ4wDnjqJzkSh569ViJ7oe7Wz/n9CSg/cLrJ/+QL0kPeKAqLqM0Jq0O+4ywDkQNVWgvIWZEDYTHiC/ep4YMVtn62l7xV4CG/nw+sIAoepXvpbqFLfdjuXT5rgI9U3ccpNiSSLImuG7hzcLsBlMQBtcsJuMXbSs/+V3t2Qxj4vmSFZeSa+npw2l1iffD1qlunE5MyfBsAPe3BiMtW3/XJDeV7hevx1AtWXJu1fD73vlT57XLualP3A3RDCl3Ie9l0ARQ6/d4owDpqDi5PgvWrpFSWzawqc9i4WGnGKwVxiTYepYT/QIbQb0rVd9/kobKz7GPIh9f4GwJMnC0nKy5WXjcd6SABVaPnW4/7NCVsfBKf1s3lFRTqOuyx0Uz7PmwC4vz8qSn8/fVCaiZYoKQlEmswOPahC18kdWRjnUhpfi8OSoBaaynzqWPJ7sJO2Ez566tERxDjgUWwKdKfRSXKNPuW4PyOu+DFtoz5SfRdcTWWWdjHVed9zoW3qxNlxzk3Iiu4q1TrN2uJAFtKIuZkXaHDx+Ij4cfNO870sUbHCEpIp0dzhqyQIjY+mMIwlNWOX/ZhMDyoEsf+2YQJAx/R/2MCOCel1kWqceGFwjICG7ok4ZwXJ5hoaZuDnnu/DK2rvNdYpi6Ba4QglWF8+hJI0sxl36xDTxDHd+HQrqFNsUYvNvbGsgYOx68SFp2WCIQ8kjThV29p/tJQi/cZZIKb83XftiYoEp9JV3bTdZA3fV0awKTeTZmJa389Eg9fYlan4aPZNaGJGp+kbi1nHE7M7PKzWJZwK/v9LgHKkHiLFMDFMe01ovax9DWrNHB2bFRuir3WCCXwng+dRPedbK+dbIp3NJu0V/AxQy0tlaQTnqGy3wv5AzH4kRpatFbzV3fCK8rfXyd+rSuJdLEgUejM58pFnp5/jzgBn87/2znD8FEN7nukdgCU5/H5Bxj2PPR9+5gditIJkgnQdx/aB4KYY8yhDdQnSLOKgpa0C6HlEuNsQNhnzo51y3P/igrN7+TN7nIz98b5ykqnyJGz/oavp/ucM8/dsEtKjpVB0Ppu5TE3PeKvWFkTsToJyeDMRfJgYfOEpt7mJPOB8A5WczfEnIHXGh51WEBmwBYs/OmJ/LiQUBLCNPjsV2iyq1gxDUfk95qHlkLYYKjTFl5EyXYMEUIGYan0pwzKwsB/cSxIcl7R5cMebmkfJsVED+bjlw2/lpGKIKsSreUQ184vWsi+a+cILgBrGILLF5K++MKlWDoYUDYvQ9WrhcSbYt2cccSlKi6itK3cGixQoGcDKd1A3QMoMKtKqUzvKy5S3kS3eOs/XdlfFZKHgVAqQTAwsvbXywdkyrxamKJBBK/umTYf0Y+A+Gxnpsh8ai9MCRRrtFUUOW2p+wv1UW+jDt/1a0kI7eHfCm1dqwi20gUWRuDQAVjp5DjyYtZlNckcKkAw5KjfObWoB92QXtT0b09kruAkP2gTz+Def3qQsanh2EsLyXVxFN3VKZeGIqaPnvQsRd8s8QwlpflH3UowIfJgbVmdfoX+FIn2pAuzhpQgLtbi92isqZBkkjYojvct/EbHozmP6UL+vg+d15sHKW0/BGbXooIK67EkoXWw99IOtT4IOi8P3HSM6FInMe8l+dfN1mLVcbwuT0rzftZDWa8M9ImBJBB4OJYZYM7QgGyEPvKhhEj4whi8XisNUAGbiv9oMPXPOiKg/FfnfHE7z0IfeOGFBfsP6YyVvAnluBbs/09Pz/mqA2wcdLP6D0NMTroyfxZtr0+QUvqNEIkB/X+cdjBCO3ywOvMCG9IqFegB1Yd3pioNrCIysMdkHyOf//x+pSw/eN4QaxOBbOgkkdFfhupLnHe6wJSwuJPTwPmVjNUE+42z9XF/wBk1l7k1ImwASF9uBq6TSjQXh3W1rQoUYornoffvSrx4R0ZWCIX6utMhQWur2sqd2n1FT3tCWE0rIKlVBh4VLakdRRJx1Y7txj+tMM6dvVKA0FYT5fbqrUwxhSoERkLbkuPrR8cEOqGkatdWNkKUQbhIDJftCnol1euhclv2yzM9QXqIffvfhyTxE6jCcpG3smnSXILIW7qxAcWrOYPAf897U3R9eEifzlaJ1pg5tZWhpZe/dU9bSiVOQ9xdpgRPsx/V/0TOS/DQc5OzIJmztoidvdM2MgUQ+T9lZn89nk3PLwvDKAeW+uenQg4cwM2pVoyF2OkgoOh5argBHaCN97fDk11XsZ7PLRe340VQNgzTHBT+CkJ7Ym2qsKsOLXGmIouU10zkEr5LuyOkZWX3ZVQUtbcuwo4IM/ZeZTug0C5CcY9KWUec4atrX+VMhIL+wCtyJ5knX5UVtoV0H2gr9HjOvtgAcREE6uqZjnoTWrdMgR2YRsDopI4dy+sTVrjl8OuSDf3rw9Pxu+FUDnx1IiArqybbfewPFaggWUoAMydDw0UJLUCQyL6yHG+12JptIVt4U7nu2ZicuM8xx1QMTDXeYPoLWYlHVRBvBNsL3zvPS04ms5jrYr0Kev6xQQ7M2gsbmbHBVHw/N0gQQuA3Ir/sQ152HaTzcq2g0JszA2sq9zx/ebGtm+pfMJGO2RCQM6Dfl2J5p9fI6XxDjfGdZ+bfqNWIfrdJ1ZQSSAnl36ds980/bvpWJMFtWOM2UtcXAioQ8JnlpdR8R2DFyhwdlaJvKoRHK1t2zH30YNQ1ElAPusZWKPuSfyfssq8JASzrLzMKWdUYgnsJI9AtTCpfIytrnocCTYKZQGU8BxAjKDQuJ/Iq5hVaoX6U2kCSmwjZOEeRzBLTqBLyWI7wYjYTSH8yB+obO5h1bBmiNIPVRiBn+9EkO+OA+MQto1VantX3um5Al5HXpFNza4uMwXDRrjb1aj1yKv7Zmf18jQlYExKdxCOozKHPmjqf4hqlhHid7coCcWS8srlLSLw7+RG3c7J2osA2W3c+MzgJOkc/ciRmFDSxSoG3CIgViznr902WKT640YxN1XkQqwINW7gPqXM3AQr4UD+/Hdio9GMG2vfkSF2kLQ15gAiCUOMv+3MofMtTJLzkF+LJGrhEhj+VyQ4V5Jv7bZqqxjDajbeXsZTAEBmmAmDgJZbiXruEqcN8xT++lyQj76SlO6FCd9iLu0ed7EIaZ+21goWJoZX2jW+AVHoucJgpXAmj5vS0tpwABcUnRSE3zoIpXTirH8TQkJMaH+NIesdqlssSNGB6iF+MIjlvME9ppKC9SmxfB0E8ZG9YSRzDsorao/8ZNpHutXUqhEaiIN5a1MtQaO1mvLEu33vwap0Guim4YAnF393RA+uXw75DP5pEjBy5bAVF/YTRS0Zl0qfE6PqvtGWHA0srR5rb4gDkYt0Lhs102/VJS39ODM1ReOJALdk0ShY6MPiaib7TJsBFiofCAwIT7LKDZKsP9QADodqDm/VkfOB7AhZudt/TQ0Axa8j0U3OiFaM2FE1hTw1Dqctd/MOqc3K+uyOo1Nu0tfHDjlg6Vl1dpzuSSVdIW6I/zUi5iVRGZYaGc8SYHB8C/FBQJwm3/qfMbvHsZlY7j5rgJDyBRtuZthzPM1rxKofYFjw+SIBttTCy71TdkMpKKWXtsIk7hS1GVs5rvcti6DbVCK1M3O+WZvEh7rT26nIMPzJpJCRfCdF6CNggTTodpqcQ0qrhh3PMs+L85Ck2CRZrxWtaKg/d0AUMq+0nVudLE39clwtx4aYsr33IkLVGVVaXrmtiGBKWdDDVRCSNpomDa2I8iTL/iRBm02sjvRt1FaVAZXJlOMjpeR8U3JTa91X7eEnYZb1U08FCmSrukBvo9p04Jrk3/jW0RVMxhWeKqhHrSaLuZ+mLBM0YUCM5LPwo4Ru/XnXUrxjbruhxVrKbA+wNY96L9F6WGMGMVBAumplilTc4fTKMSUo5vJ//LPWtdp2IqMAGc0BT1LsNDVx89w+/tsM6KBpGecMQ2AT+EOh9Hi/mVum3najJdbk8QPwyR2Yg+3eRhvaKItQ6brDqK8enRgfH1aRE3YN/p0pSf0Ml1lD6oL3cE5jswaZTiDu0pToaCSfnzy6Ae3qHtFpdPZi+sxlzEPBDnsLdIOYJXzlRVRXCAfTmuAd6DbJfs/MyB09D3DszmpeJ13wGojPkgZw5njI2DBle14p2rji3QYVcIqdFHzER5BhNQjkbatdwPnn1ra01huhnQbop4ohTg73suZzuJWiRP1KAr16XNhFhS8dPlI87s62vM+OEcFGeWiYXZTjXbJ6eRLVmxRac6AsfDcAuS8d/ISPBFJQTALUaWqG8ZDnWt8ESIsfZErOE8em33hAI5HhCzrXuL+dirnrJkaxf32cL8hjDmv0m4ewzR/qCEXPwPltWAOsI+AdLonEuBp0+KN6l1gVyMOr4giU4G3kv+RyhFAuiYlcJNV/ueb4QOZdwEz3/dJgnCvKxV6VdtWP36envLff56jigXxAdMhWRS+EMYU9r96MX9rW35+BBQ4I7waZLRKgLMMgc5DTYTHXykydX2Yel6wOk8StAFG4CBcZ0nk5D1SRpF+EJXnuzEfbLY91ZeUgiMtEtWsmTmjwwhZGvbxKy3bMHByaECraiMDXseAtbUaAzjmmcK00zOMXut5BQbag+C6aFSp4fBXVkzLSJrm/C3QNA+3qu45Kt8CHhlQ0EAQt398xUIvRKH1wjAMj129dS7pVq4ihg9gz1s7M0ZemvPvmf5Oyh4CFq0eEQJQCWO6Je55MrWyOpyx/MstBINPuj3ABT7QSflJl+cfUBBEWeZO8Upv8JLp1JKh/2VdfuC2fPwrDuxrU3TE0x45sjFoEBf2Nm1lKLWyS0zfV7SQsHgxtcXMnAm+jWuNkWuz/uI9Fi7uC4j2s16D+h4HsdCBRztsCOhH+6/IUZ4UvC9dghM1WNm0JcJ/TAI3lC8cCvoTtydMFMkIZwnn/5oS5Aq/EgigBcRv8WDYikPeGQkuNrMnX3SnRJUZRx1VGwSiA3uJKxiJ9Fo11isz9X847UjcOcOoDecpgcE9e84s3zeT8HsQm+Zt9FCPjB2rdoHvjzkEPwVyZIQDdHq8z4h8cAlMI+MlV2RPj7nJY1exmf2N7Fc74PFWikLqMubBfQRmd2oMY1ULtJvqxCdqZWtCGu6TCndVL1TQ3w5jF8Zldq7e555CVw9Z4RFkmFdVliLAtIInaE2fZYJ1wEMtqLZN22VUUfV0AqNGACw2L8sda/RNrHspw254Hw8H0bw0PVITiXphHiOEbUAeLbDFuI0Pn6wQiVk457XEFRpGhiBk78ubGCsqDLkzOW+q1wNnhIFZKKQhyIrGwhwx48mhDU/CCJtlU9W2S2fWu5bdmoiIPv8o2kCbdtuFhcbR9JqukCHt9HNuAvhnEnSoJiSjgM5xMvcg8P/DKAf+OrWG8Ap6AeKIev/msTz6kDvD3f/lteEuZx4SO6em8YMB+YUm1QF9ltB7RFPZhzVM8MfWMAYYOm6gPUIUDqWTVE35jGkCXaJ8wUqnyAJALEGR39IBxUbO6KWi+87n14g2/CSoTqthVTnf0Qk24m9MFZ9UzRQ1nlzd/WrNZu58fPt0//qwZjHPXfOI7dua38ybZhl4r0VX2iRceCo8WgUZ3x+WncVIL/yH6dItrKUD/cJB40uRlRGoymupEmhEkOyXCR5s9S4FhzJnNf124x7DbhgESe2CD8w8IskbYbFqBt58g5loNUFSwQZdRC5zS3G7jzitbzvUDb7Pr4sdBvVKzwnCilWsKE3E8F2IGEmDQEquzHVjo1k1mZZ1uulZuIdvEgJHiy+AkAJOZgoxhtvyE5mVG6MRe8M3sb4U9jR8hv0peKFAax8wBKk03c0SyDqpptStd7VyO0dpjHOjbHkLIzXyuvwI+fjiZ0iZYsRHZwkFscuQpEye5o3Io2xLIfPlzX3Jp6ipjrHDpR5TwnmGUDhxYvE7vtPJ48/zeO7u+TvsQ4EMXLFv8emAYOKfqnCEvQ2WW9VzzWuzlA1etGZZ5eKuVF5nci7YfCvREna+hUgxGtHOPRxoQjQutFzA5tR1rfDb9ocm1c5ZaK+Hq3up+hVclKRMfPO41pPQPVp78ZHMzUOEIMNgjMtqD/hi9V8FrWaCYIhxO4DnCvKDtEyZUaV2V9v/Ab75XdNTQZvrkp2qEO9fXMhoyz9r5e+Mrad79fehH7yvoUSsIGN/969dY5yXNJDnP5pJufl499u9cl7TL2uVwZ6BQcHirM6f8HPmSe7VIZORXhWESvuB9tYCBv3TrmQRVgvhuIAYpsaTZeishjVQ04N3PwSymYaKybivLtPDwrwYYScJDTO/lZsrmsOoXKWa1g9q+82gbiMCIW990ZEGibeJb9QUj+foeg/1BkvlgAlNEDR90sijCVeTY3al+3p1ZlN8apoIgl7iVmRBETk19/tixftzBQF0u+kFilzdgMyZTOPHGRQ7UCGriamebSTKWxDTk3GHgLYnrVY4tynILV35PyZHVVc78I+2GQgmzkyZrpFQ7ONCbG4sII29C1JDuMC3SjsqAFuCqjo+1/yrjndlz/RFreoaUl1g7x9ukU6ARIDioeL4hVmG2MaKYnidPrkiBQeB0rWyPtKNzt2AJwdAfiDeDTF/upuWqI+PK5IDUVM3bqTVcYW12c1EuJBHjDrd2/+voRm4Fut9EqJ0FpyRP78AJJTL+7rnW21xRj/8eoIVXakZFh2mfm+onlgczb12hZ3BJiMJLqg7FqaO7qIo+ynp6IbKEru/OEHcFt7UKm7fRQEnLIuLIzg70Ppg9CKdrsA8Wbvq8LYBScf4lpGhyP/DqILqbmnCx/QUZhvojRHE1NfGzYgY5icP8clbsAHHPO9bdujYFd5EmcwdKQxoSE0kuXek6AVPqfxFlkgw7uCr6teqwnaw0L1aBV421f3seBPvGiv08B9LCdAJkXJv3Pxqe3sBQCXcuYVVQ8SzYkROx/EggkttKeIlexkc33Ugew+4Ghne5caYPYu1NHPvXYOOiD+f/6FFKEKPmDEWmXshS5aUXBL46Hz7WPiVna8RfgHcznG/h6/oQurPTIILYo3TLz5wOTWSTzj3bXiXoCoGLupfqudXRusWhdp1OW2veptJbdNaS/o1QZHVqlljn0olRxmSrcdPcf2dTl0k9ccCd3mtO/EQsSMPKbaR/j4xUHZV9P3yZBwsDKoL9+md2L4rBGxZi0a7x1zrWzHV5J3xGn+WxHSnKh2edWBTlBbPNVaWIVebJLKeET3DzgmFcdPgLthx5EJvx+UHRp+SLWbP47Zp4+LWQGP4tonwx6bT5vBLFHGX/Unf+e3s8B5WlHH11xg/Up1azSbDhVHfLb6FflTsDDSdTOXFptCB1A+qogGVUn9VohSVnq+hisVR17KhTuD1cKk5E0UN9sZ3k14V4uuX+b9DvTtfXt9GYJBbuRnYTvW5w36vplFthnb/tTjrqNx3VjJsXevNTfAvWYrrGl7R5cgctrWsJWz5tqIamlehrvl+mZWLG/zCYbCSAnp3+vgJe4G/FNLcQXf8Gc4BriKfscMSTi9F28BdGkS1uk7/dVWqfDzbp0sOJw7laWIaXP+YdY2U6rkU/g05Drj7jLuwcewfqUpwfuO/WHMN6pmlMYo+P12OKa/LOmgOrMIzCyXAvg8utJZRtr/+400AT4hJcizzRkofMV29iCCNlt+3AEjAGCpgKQrcIWVYk35QG6c5LvbwHAqodFAgzC93AIXSaPbpchH6CiANVHrqHTMirmrzjLlfYjrM3P4JWa/m5k7hFtC43wWHbcxuNhkeX7rNVtNqoYIwVHU1QKD/kQ6DmKHPiBE0ZqxNfJpc/VG6wZ35jzF/V4Jf16whNFi8f+OQHztKcEIeC9W5/VDwBJJ9WsWDKVSSk2QuAm9KrJ0Jp1Z3NbLFVFNTFntHgJw7rF5s/Obxsi075L5xbjwfKMb4s0b51tIFgHGPbRlKsuxdTZpAOUqta21yrc8u3gV9F//wRzv7J5Zdo6RfQiuVOxc1ZDmh94LBHvcy6VFY1eABuOrDytmCAn6uzuXjizbffmZDrtiAz/YAKKbEZuEo6IxNYKbsesGaMiR+89egMMHUjXxwFbyRtkaffoJEAi6TxEWZVD/QI4+65ZupT/jVgK5Ttsy4HHYq22WLMf1G+kbQa9Ns60UL8b4S+hvw6+xuTaMD9JORUzrQAbnF5uldZ8kaxkGr2ZaSj4usmKmAwf5Uyq8rjFgya4NS7s/H0z7+Qy3usuIIP3Spy9+wAalkqo9g0d0ko45L1YZ/7iLxdvDcxH0W7sM33oBCArP2nldjpIM8Cq9YePrzqPsiYX76tZRs3N4cyY4/p2F/OIJK4OXBAlmDJblbbunJBahol2fsD0SMeqk9ViCgdv6yvTSdyV+YqfroY4QnuYmpJ0xMfsfDg4xY6SXI0YyOzLN/ixD81JfoQeFqFyxZV/Vmso7m3r5dBgxm9DlHj3+QMXBBih72WQ+l6e3dlhPGkKBDHxLTxIX/ICAXPlH5Zl31VOmyhvOI3BUvdqwPDC4ADoLrlgYVkycfsQR0cQkMB0nA7zOjornq7gDhEmPrE2OQ90SEJRUslpr8xyi0KrCJ7y2XLElbqEjiwUgWbiTnG9Zs3H95mBIbz6sHQe5tCn/2h1ud5WoDMDIsFGFAM0tj0RHWbpXK5Z1boPpLHypFrzAhPJurDTU0kOqC4qTOVK2p1KMBj3XEIR8I6TmjKysINPhFBmmEf5a5NcufrW5OFPpChe2JX1CprNw4q81nr/i8NzZrkRgOJ2Vq4yDoa+w7BzTL1030v75CYJWiZKJPTf9uo4sNU/q3MCAZjZxigICaU7bAza4WOUYLgr+oirMPIIVJN+rSti3jOEMWwA11VGpprWEa44G4hjI/KP879PN49JkAJlmht7e11/jQ3rmofatEg5HTkXu1VOk0ZotjZSWtvQShDsIYEpVjLU+M5MCuJT1nOz8d+NQMptye+Pu166dg03cHM8GInIahCJmYZ88eWopB5W03YEQILcD4A4dpYHkNT1zL0TetvpHqsbfRgq3QPkVavuSvL5aL9PVsEj8PviapCF5L8/vBESDfjbu/tTWrQUesuNSgKImQfWpViD0qe6WgOgA35An2Jl4RZYw6j64R5pLabd9EPIUWHatdcST1ctSyuD/bfv52nR1z7NbIscmP9b1toA4r9Sn5H7Ic2Hu3HOHUTS5AavMEqoxK05cR/54WK4TbdCC1i9HKdTfhHzqgfFclkvyXffQPT2+jJv9ryzzNWS1JpdocaIJ6p/Bkub3Kwlhtka/U1rrfH0gC2ZKFB1VBgglk3GVyb3HwVqq0EG8fEw3HbQiRzbPhv0dpGUfdSKAYIXMFcI+emhq1Aw8pDwQnEcrBv66YzzVGXBGzVXD3wy2K0yJZLW5YHr1MWy06RzH9y9bt4NOAS6XLDx2QsESk/yRO3kMgy02zJ4HurgCI9PmBPeqMkAKWu4sonUFzMyk2LOMB58D4yNnoHtEbKgZfQ0XVN3O9hibgNL0scHAIqpMffZqUqw8Groc6DUBuPu7+k6CauIeVqKaQX8GUiCvllGCjf5GdXNnOxqGW8v8QxpRV9V5aRQMviVtZjVgxAsJOx9NsUh1xMYmeXP6VlOU9UeZ/++rdCuy1WrpL6JAu8fjAdi5R1HXnkAJAGuc0y9RgcscYvY4qYjLe7tKOb7M+N1SF2WYguxsZGAW5kHaVrQzp91pyoSAu10n4fnxLTHYfHIwk9zhCgkrWSXPMGywbkS4ciI5s20OBD6uFggSfO6H5+YGYOGFpZGwilJptujnGBpAhad+bGUWObOvRzmpS4zLLr8lWfdH8htD4yYzJ6psLN0q2Z0/hfxKRqg+rE2lYXBVZqdiSg86oqBWB+KEaYfmr4MZVZm9ZXkEY9BUuT99Bpp2esNCJ2sddUPJaUKRSDv8xqnWfDwEzAyNh9nRaGIytPByGrtt8rpjT2HuC8RfWznFhzus5wW0EZ/HPgOrOw1B56JLI+DZBlnUWBTo44RliPan0R4g8K6AD7mVGHQhhLiR0pf9vsJxZe7nhOdLRjCX4id2MmUXd+3GGX65t84z7/AgDFY7WCAaONxC99rglbpJqYjddNOmadUC3770mmRgrp1HDQARKCKqXiydZkmctRRT76diO/S6KQ2iZiW4yetjylN/D9dTnrUPFSlgfr9t7ecX87TjmTURwynOSQopj4JCNNB87v2qmbjAWL/IlaRHIDh13vGa1flbAkpZEzAzERgMUBASWzPvTLbqAxXTnB33W2RMOYm3t1wT2JNiiYoxojZERRoaMSBETnXXn9sFYaykcjrbwjnsnw6vUf+94yQDN5LMSOUKvhZFwPoVVOo+xjIKNDYnG8eg0Yh1fbmYONOAuKV+W4uJRhHwu2tX5TNR0uhdaVhWlBSY15shk0/fpk2rrpJfMcQwtOfvZTI2fh3x+GRcEkvfjqVODAqmrAsDCe3/IqR5Q1/jr4TfIBGPdB6396aQU/juPN5dJ6DLNssX9xHKPh8/E3Kh73+zYfX5sVamiIeH9m1M7WhwYmiqidHp/isIsc4O8X1X1LzgHqVO39qZa3egTzF+WGmreg9exqYYYrqAsfGyeZN2OClsr9IAYWJxbfpziUkOsmoA9CmCpQlMLsYqc/3XoRtyVVo8A/3pDaKZsaBRVpN35xYmWpAIXlJtTESd7jTpPC2T05XWEnNjyv9bmBtpPBcTR/JVJGO+5n/AyaE9BSEZCYaF44mtdhO3ksJH/jkkcxiyUNqMb30GzcaBhDHpqM+yOmB2obPa/zfwXuHpxYDvcDq3vo7hkUgFQK6f4+q6ivScs5y5D3cNYFwVQgL0zIk8mkYF3knNU3nGSc+HkvH62VJJ+ZrfA9mRDDSjdKh4nZTN+AfU54YuHsBg3kxiMUI0zWXoQMWLWbnHpjzpzmtAj3ZmY9wS+E+aj1mgw6vQybXDGqy449bMr4ZyEb1jlNvamlzKV7nnZhpY84/Xf1CU37dBREjzcJovEnhwYeVN+seqFLeDaqR3oZEAI24b9JZmlTDdnyrzrIqFEeNFyaXAMCDzEJ5Ey7AH81GMWF+6au2D6BQS38ULfDNlFLma3LOJ8he7dILok3IbsYLaDkxThHQLrSr+kt7EwZEDf4jPj1ua0ysTyzZTzJT2qsUhF07pc32WlmDUSHtKMgMCtu6sHKlaUVhukDCkQPdd60eR46hKlUM7m6cTmqAotMMnHOEPYOIFKmdLtvYnNiIQ2JygI7tkJcG+sM+yff4VofI0UBSCz3sVjwwbZrCr8VqlNQcemul5Ah2QMd0k/EvycS8GnHrdlelrKsgUHlQJJoipE4HOhDDaSDIq1CYV41OLm+51K7WmbNUYoOHFtOTQA5HJ4A5NzdzppNXubJhC5T30ld5N//RNmTpJbvpOxzZBTSW0vk9R4+FSARzG5Tb+oSBcY517Hjf4dOrDlniwhoOkXzdKqLX56qZJqJQG9PBhs8Budr7LzJ54YoCfYSKJbxYPKsYMQ9TtibQhAzZi+Y3NE+gs9ViW+q9j/6OdvUMPIMcfDNk6YpnAg/23ahyIrESdlWwZqTftijv7cpZsSAkeryR1ArjZB3omjoYuUMA4lg/0I52+0ONkZFTQ1hBbTayEomRUaXCC4b4raiw/UBimaeCf20Xxd1AWAQBe/npojbxBWmUehs6srWxOJq4oTrIcH6Q0Z4NKCvdvXWTbT9x2CAaKJa7BvUxeioEdXkukd6ZsvY2itNQBJAkC7VD+NKmTy8mCJvwnR+quH/oe9jI53wAeWZzlCywlXV2ByRpGbyAgEIZV1fctXew8rmOKoOqyNJ+kVJX3F5OWOnlQqM9751KLIIEDPkxwb2HGLoHBIsqCmCUpRDilrrnEZnRMJ1o4JKJmsAmD6GZslbVJqP7xJTBKDvezvOidoWm2YtsvTPyRlL4fsznzOf3bIqNmqg4x4+KXtQrG4PkyZ5RDRcSby19Zdj3hOn2zax9Z2xtLof27tyhzMa6qjM1ogQfwIo1+X88ih18/dSjxSpS2JNStaAqfreN1oCg95y7aUdRLapQPVOltaBbzVG6e0vO7PNYf7kVFa3OUuz9tN9SsfSnCbqUWwbdPBKxsSGPXwDsFYzKVAYbNCa2gz0EYih8tbYF1f0caYnfx+Un6on39NTkVeZbhLjqadcwhXmGWOdtbHoOyvIjJYDu2nWnUl1yePV+kqThgmB9sSxDdXe9r2bgAQLfCbG/McC1zwNDni7rYRpq23tzQCeS6NS40pQARy+RsQB88mj+Ph3P3w4+Yqr8lDeAUNXzKD1+P/USB+/HPAI6Z+vB6ipx3+WuDV/TDvfj9k84fFmWvPkO8pCL4nWghiuzpzHPgqvVbiB6f3np2blxt5WIi0m/DKt9hKY8fAMd5flEprwJXk0pCtmB/HIR6jmApUAqWYpJYkNxwD4uLCQhWpMH/E2YO/I0wGinYFwzjp2zpAY/4gCpw+QrwRpzIIF2dEMkxubt+s8bS/dPeLNa/qZUQntBjTQDfqYnDVGJvsL4/gtSmbvG+wq1SZXjQBHjl6UOm2Um2weiNK8F4XEvjgeFcMvzHEWAnQ3na654a0ed4AUTZRNtnrt9emf7dVKibWk19gpT6SJrhWAMJV0hgBIsRwHieYxgDBCQUybtiXdHT/j/2G/QytWuMJQB0Rn4URNcJoQ92Dy64PaNFaVDsuOnFkH8J9tp0YudOzixdG+iQn7CMzU9NDCGQX5Nat5A2YtvAEna86+fs0BWXKEtnoCVt1qxvQv/asBLHZmuJHOgVWs6KUgrniLUdTVPCDrlkav32gXwV8ZEUIfzfnJhP4kB6qIGmxlr+2lcVrfFElsfKfVnW9xBf4Nvuz0fsXCRoclMUMTC70Mo2mcgIfSBE1CAxwFXT28ur7/j0OLOpoQ1qLNi+S826U5orgy7SvZamJ/oxSlPzW/Ay95pv2wkLp30DXRd2NPqKBN1++wFltG0O6Lc5Gm6R5vsMuec5+DCfscVU3bJ8J6FUfp6wipWq0I5pMdpRdgSIsOuaakgEe47Qiitunoqz/VOorZlN23PHZxD3FFtVhypE7yYZH6W8NIV1GskYUz4A+bViUyDC3hpNtnOq+aJFasm3FWYXc5eLfTb9M6zhUCjZBjzRK5pzaTcKP6p63hT+l6emHpfJI+5XSKDPDC7J3buzJDFzY5ZftKU3XoDgaFKjHHIGJLzis1DHZSUzaGIBcoZPP9jyRxmpQkfVs1Lp4MVxNL5e5HA75F4160H1GETqfkVD/hO1J0cjX7jfBF2nMwWfG4NUoMoA1Qe7p30k9Kx1l0A2aHb/Ex9aUQ4qMzcQpqSzATU97/LWwnndETeKOoOdyBylu/oGR4KQseSzC+PM32Qh8dS4tEyzZRiA5NfdbZFjbMrQtUzBbcBy110oJ9NcD1NmeTq58wR8rygVz5qWfGvLNQI+u3ulKzpcMrpWVCd5qonbd5yCFt7eFwsxLeqPy6wXM5jcYZYTC+zoCvMk5oHZnfwkzXVfXBvhgp5GAZqz3kJQ/6A7p01qwgZ0skFTPBA2WcmILCToaKvW171Sk9Oj6cQe3uJn6m5w8ZXcy2uXJry7Lo/+zsaYi4gO6L1NlMOwYOQM4PZXDEqtpFwmcAMQe0Eme0PAdluzsJLOWXFfiTRVH1crt8uiQHDR754ZDAeekHdHT5nFipJw6DAxRUzfj7/ZdCvcbGZNuvHapNs5+czogsbOacRtNsG7hRFROijMnSxK41/bHjNa8b+ej7pHQgBnjD/8c8pHW4pITHLdvcVjGdfQjlsRE1S+fJcsNfItiNlHouwzKyNVtKiIKTBOEi7ek6XUd2hxoMpD0gVqZkU2stDHcOakbm/X3QsfAf7ommA10cyiD2Z6BayNzHc5HJby0GYCd4vBu+9VdqgKUJw+ppXRG76hEZS1BLPCazHCoU3vCLg5CPTcFGBtwuC3Dg2R+UGrVAcbbAj2Kd5ZGsSBVVTPBYf10CJusBIO4P8ZnXnnpOnPr4TvtBG9YaJX7jN5KiOD9pC30glWXitp41nyxrEMgIHNpLNW+FylvvTqO+qHcr5xYYugT9gUwrhHdHXH8pY3exTS2rz1Osgi3tkk3F2zSFBhPbyHG3FM3hbQ6bVKiz6MoDrBI1Zq3MhO8oWIGbMPGaFHsBd9rfciCcirHya0opsgfvPlaB9QKcAV7+MuBB6lWsE9nud0ACw51xsGAvf2SH3Ns9IL12FRd952OWR3kuqKyv38gJnnJp351dBTX7Vh1ms/cfzQ6L4LehKQ9Wn+UNoP8XDcSG0H9uOt4Cg4d5iB/WCfUCXZG/m86EIHHJn8wLB4Pf8kufZzJlAjzXPN/er/CtV2Vh3RjRd6t8d9mWLXTku9sTfyT/7nbClEWGyboAsPWqHdLZDwkcEXtKevFKuePZcm/hkbadVE4eKG4TlP5xgbFrpiXWC3QtPdj/SZIHERFC2F6Cvq3Q42kYqsHfJKp9IlZSkYvdMZf7B9bt+3nmh8NauGVhp+XbmZPiplcu7w/PZa23PrzWPpezlXvYwDAZYIPcD3hDui9Lj6fSo1K1ERHeUx7Cx4vD63qOny8y32Yf+ZRN39zQzvFkzXb9d9/W2zCgg8V8PRjjfFhDEJx7/m4BfUEYrGqvReOqSoZ/LngMNrn414aM9x4Af23LMBJMCb3gv8nsxdGx5GF36lfNhEcjPDjtUiKwVzoHg8yflHoOHR+3XTeS13VECcoinRKEDfVUwatGt3F0zwXHnju8JRXoVtsZWaFNmYZhTyZvVKxhxXAJaMCYy/pfan2CuhjaIbGIbOMrnFLnUlhyesbdJHFiUww6Yjf+hPSPwXXq9Dpf0bHMreHYG+tNLDpWmXJCBn9GXgzSmBhW/8hrn89qrLHZ/XtZM0ZxLGuV6JCjhKgkZfP0aFL8/KFuRemFLCMiDuhG0/KNuAwgaBpDS2Z1r4spuXV2CAvIwHYNaAX26s2sQwn3zpI/eDSh8oCffLNX18kfexlX06xLs+nw9QJVOvNt/8Bm7PGlisr3qSxfTr5niAGRrfJZCHohSf7x8gOaTRw5KN4IUnoSFxA5LGa6HoIqc4qG5emPheqZ2P/07zE8tyQa1b7A/jcdw5UiwuYYA0I1FZiAGPiY7uzPwL4b2tHZUUSAnG1Uo0t97UXK9p3FpQO7MzCScWoPTzwa6QJyL8uccNtVo+R7eqtYAzz0lS5d38XfKqzzVqImCOEEgBxtFrkWVK2i0x2cuHcqOtaw4G1vGxed/K2rwUomyKU4Vf0w/AMjAQEvBSMNLLYhFKg29AmWvqyC9SxhU1xHzcKRwKzxnARpLEU/UydDTvwSm1fHaSovtQRFnXOnNR++C3Fz0nZIaQfbI+ekp02GJwrV7FH7LQgZ0iI2vcKnrkNmPbjpll1DvQ0skDxuug34AKOk/PffkoZlWrHbQ1r6V34RcaeTneP04VVyLDxM0d+gidyq877HA8P/5ntMho0srbYAtG4ELd9a5sitetpbsLFTvabSp67nnIvdXWJg1HZHdAzuK9cJLopVpJVDXSbhxPUQ1My1AbjXujSJSe7N5deVUItoFpBWpeKhWTQt2lXDXbi83/NniptyjGJAdK54+5Yums04/ZrwaSQ7ugLLtpA6fnqD/oTlzYltw5fBAUQulKmu8i1zHYJG7O0HwApzgJUAeFK7njmatpdMJ9V93j2DilDnPzyaXqtPkTFvv8j0uoPqtIx5VFu1TwQwd9Yyqbv7HVePM2XnqVXz8REMGzYWDCvWJw+dkTGqGGdSsepxSZNzd1pRYSRqWtWxHKXszsN6vO3OnRQXI1PIcMTUdqru12hNYITnggfkFi9CKDoIjlhW7tH4S6/8UXC9Ik9uTKIJg3EK6EzKyN+AupH8xE6TzSrlBWgoiHtn5uoLwUa4ASyQC5L0hBVYkhVcKiIYYMWKqkYIP7HkEFXrZwcty29hECsr3jzbw8InpffG2z5CwCBUyltlh+YC85Zavip7SLtyxpfWjLCDWloyi2cUTgRE2fEENyOfs9fF2aC7hh2Qph1Eqzk1WwEg8OHARgpDVow3Unt4SE/GgrGrhkXvoN6Tmb/OaGRHkRyhL5iDCGqjUdpTKGseViaWidyCwx5pDnDtF7B+onWjdCyGwCK2BUhh4ffhnOOP+h3fq5dkGUDkyO2CLDaimd8UCl3f9JcxtfYLQ9+3D+U7vSibGEgnO4pGgSx6CTbWM2cDbsD2byRK6eN49FvAVwTXHhnI5rxEuFOA165WVBOmnswclLtw7fTNHUj+oojkNAB1dQgGa1R5+jQHs+QAq6YhUG/tiiS6ixQxLAb8BlSkZAAgE4EanFpX6rVz+BWvFPBf3LlpRB0iFEaTHi3gpaq4pK+SmR1yj5PRHUUdwhLdjioRLcaH8IjJ/kHs9l7hYo7rb25qNalX7oFc1xbDPlaYFCTkGa6b3HdyaPg3vfya4jHvc9n3ZjW+qiQSpC4vl4YQGbpNdXIzmZF/v8j31WAPcSmxPzFQrlItHU9EgONOTNJZftG1TIO4kbma+O9dnxAIh52TqLxKFyoCeoK36pYYKsocEvjVklD4WUiNMK/9YElwXkUvvPYBXaD2ia0OAMpvEed2sDMF+Dae+8/R2svuIvHMLIu/LaD+aKdapPi5o+SamWUQn6EqQOSA/1N3xdJC7jTPW+kB0AOA1+EkYHv9/LpXWxdD/i9Y3vhoONasWg9J9P5eKArMP4ZYRCjOvVxB3jZJkq+wrv75LQH4kn0XHCCDX4VKJGRdMRWi+3ZJ5MLrAWWPo/Ow9CUby4sSTrp8drhDJaRZg+0ipjfB3hF2tC8xPJXB9SFPYaoxx7kOgr87y8yiFhMX1YheL3w4ymT3PULe0vqrdGhC6BjcT+ExsUJqUwKedmS6CbsAFWTetXDjpDNiysuPupoyq5udJpW2etq9XLDLNjZgRXI/WYLZjuTbh3Xc/D2RBHdZf0N/J920nLjMiXUd6lN5hMcjnSlIK6qhIJTnTWjdNAXxoSKjYVC9LGabS5jIHa88o35Pjz501P2GQzAsKvIkWhsL2hxewhC/JfG4yJ3IQcbz3sjb0LC8wWuRdaqW1Z5ElPzdaiqWDfb/RQ4DENqx1tXL5N67cLwwF2JOGqzYfzX62SfKzG92njfqs6q65xAD3Xf9bnU92SMGnfSYjHP3Ie0qlv+Kuigl+g5CQJzgingEHQJPBpi0+zIfnThkhXMOZ7yNzMMydP5TL/bxDDUu65FNGAx7XWMafHaMCH0jsnW/rmzjt84iM13+HuBpV7Q5eUhLZWd/9Ik2kfXUiMqLEFFOPR2QmdMNcE7h0SsG3V2Nk1Z8Ix5XJ2nzY33r+WrArE+W8pqHzWVB+QT84fW6D40KU5lW/lL0kU5ebM3Pn3OpjpYmEc0fXA+3t5Gjk5pS+B7ufTTPohm6Qjwh4j573GMqGQc0PPEusmLsc0n73QdxhRaCJcpVC1Op8Ut2qkgL0Y3ctfOtF+dsdBlgqbUXH5BydWZEZ1YzjayHeOWQltYV0xX4UAoycJspxJP8gBZd42SOwdMUObtGsOZOR0qLvReQKCBC/A3iAM6wPvaMzICZWWgDVpInsvOj5sCblQCAYjO8V5YqVpoej+nwjA/wKS+o/Pkgc8K2X+K0V64u32ydhyLaAu2l1kamsY4+FT3eOuX1LEA/vTo2qnPKECZcnmRiuN1dQfeH0cUPzS0LB07obrUAmzdaM0wF7BLL0cDIzGBbzZeeuO9XcHVWJxl8Y325OEh859cDbG+D3PH2x+GV7LHfx26Ys9iCmZfQgkxqkJUwjfCq7GLviDbrzZr4XMMPVdvQB37cCeTQshyIJYaaYV4mTjIa9nGQXjIrSzbXCaPOncl0JdIHsqJ/LybQE+5FZWZB8cZxHxbBDQ15mi05QYEtGBjHRB+/2IfOJU/f7MsXvWXDpve3p/dfKj3dJRI4v7znzwGGyiqx7WQhSZ3POsresDD77px0swktvEgYx4Hm8GI087aC144pKR3qf7uEJEgm5KOGNy/7JbkWdQaWWwJJwFashQwJGcDZk7Mrzv/5Zcmrsm6ofsaRu29bTm23b85sXBy9Ie6nTO15Iw0EuHVJbcFcvhwZjjvjmA4EpKqkAXBsmvZCCgRHhWF5RGndnoBDgoP+TTxdj8TdobnzJiTSAd5in1RXcMHse3WZ94/pruXb49qnH88EMAbLmtLmGvIW3+CVYnUsk3cJSTSZeY90U8GjLehN3NuBRvkBkAPdXltiyLqPaMnpYiGn/CKkQqA9ZElOyPtwzMwgUr9EYGDv7hgLXzdptLYMIr4qtOfpnpe2j+BI0RsNYlShMpF60t7TZpxzZe+lzwMbZAyQCBv9mnlBtck2lpdZPJ1hJFdqv3rvsW62bSEdVuUjfeQ0LZ5fP5to/PKj5ebWkQyz96gxp57RiXDvgk2l4Dsz4e1s16wRpvdj9C4m4/OammwYkMGxjAAyG7zsCw5Uab8ejPWwmxxxCNDcu4rcORlJiyR52bZ1nRUFkFCMwGCYU2VdJOz1/v//GaCmQeTnqNX7LWxxCZW5nWoxnY7lXoBHCrWupsoVosUENWKeGONItkU98MrbXyi1GezmOiOcyYfddCUkibBTSXRtHDZaeRStSnnm4b35kRBU4Y/4sMwD3uLcFMHfNjjJtQkbhmc41rRZKbUwkU4TzIsinXxqJ/z/xEvc4Z5CY1OwRvKkG5CEZlWk9nbbUnLj7wcddx5YQIwF1e8pJqBwECH0pkQVy5A+np8ZnpPODbMHLKlrbcU6KcdKmcdB33a/CkWNyqAr5vLprBbke4aNsjqS1AxHhwpX6q1W3GeGineN+FSf1EXPuxDHuYJCNaPKsgtpFSjo5eQwlJWG5QUewQ6KHqEwDWT/E95BGWfy8YMwZP0YRVgT5ccSNjs3gJA6WlnL/Kiyn4dGuafqY0Cg7huCXfgF78DJ1xj/jPbKtsRPIlRsP9PPgYPdU+DK1FlS54GFynUnO47PKH4TDpKS9eV5Y+YauMY05aeeurqtIw0Y4AVPDE+biIb0Z99Iv+bUOLC2KIrVhSIxrDBVizIm3/WJxLhlQeyY5P22eOxl+R2yJscHs+0evVi4/sqWZFTarQpgSu74fU+K9aToYIugP60QCujflEDN9aorPgtYinfbSEKaDgcxNBe4LJhplE9kU2X3KVKggfwkdlQHv+GjnllgQjkbpceWLBE8Hor61Kc+A9UuHKfc1tzYw7dhBouL2r1C1Y4+egIWv+QvrLv65BrTRFlJFxSxA4VKMPKg+dgzkgZe2Q1NaG9RRuk1or85A45WSQLMjBBszJkUee8yd2EwSecwg7jA1CeclNmcdHRB8CCB+zLp0zaTLzZjlEvS9qPNQcsIpc/XXMkNc1nojpolFFWxAJwMK7Zz74ABiAercT/SI2kYme94z4eCh21gVbEE30w/TJgvWTZFHKbLwUEHv9JiB3SD+86gGLHt4NKFJKeM0Z5zG+bbmPkdWo1VIazhlHpMLAxPPVmIkyedEm681TyRauLFYC6UKmW8QdhbOToVCG8NAg2qW63bC0DahDMeyXwgGLyvpV/2w3ZCaaIGbevtQO542c/CLY0Yei1iyFf7ljfgwIt77RqJJWkPZT6R6MTLZS1t9S4m/TtxZAX+WwrZVS/3f4rTS5jcO/Nc59jtCCeD2+Hgz6Nf4t3pkN378usaBWXXgdYUIJF5cFa2Cy/i6WjgfBpEfPIvjLcKEvi9t/FB6vEOU4QysH5iYkC8wHQ5/gN35hXwv9KzEDAjmnCzXhFStlKnsSqnEOSlXpSGNGh72E0NNYLqIWjPEKr9/jBqtOROrfr8Mw4o7zGrpSS+S34g89BWZWxjXzXcfoEJCl4bgBx7zNKi/T7ULjZ/kbOww9cjuYO6ubPdvKrG4w4865ddR3LxznRTBlQxhTyHqx0vzjZUtyZAWnQHlalYe3EjLRAL+VFvhEeQC7YFLqryxZUOaTbZHBwQPnGZK1S47hmPrwBek99WSItHSRkFZq7BVXvHppauBkchPcbUMnnRmFKwfmxo4NIckWHv3dYPpTzt74owm6TUJvKrGjH6Je6X3PwwUC06OdnUjETg4devtwfu/cCwUl/2O4FVmOBsumea78RpTOFF4klICt+yW/roFpxT9+7NYl91gTQfXD6KC321+we+U1J8XTPH4VQ3eXYnGOwwQd354NOBwFuvK2Dgzoe+uhT30SHxvU7oMqGiS73K4X+nTcv0qBI6q1UtzMGn05wkI0JO9506XyHElAUdxBWOcXfqSKJW/sKzRSDI29xqiWnscRMWjTdOu+1I/Fof/CaY7fjuqwO8Y9YZXxP6+P75uP92Ki6qmCnqonQ46KmXJttzWR5WfckmAQfo7LUqkhf7vrp+MJ1/TBY48D5f2Sx9lMLzqkUF+XAoVdhplk47678yIthDesU1gU7EcZvVwGJ7636rTGK8K+4Y9VCmcz7SwCE1RMzGkjXgDKFMIQXXlvVPnxItag5g2SDKr+2p91PXmX06SIzD6QTDP6I3/5FZmjlpL7Dqr+66/CtPOditwCqAQOjG76R0dv40z83m01O9g7JwdFLYR1DJA+nwYMrnrsa3mjxwnm6z1o2IG5jDj/ugA86/xxPCP/6epJhl8ofZoo46rsc0vnsT56eGDVb2TGGVSFGRzso/nGTv21fFyRccJ/+ANP2ZdvtRmuiMyaDrVknZumvMyJfbb415n5XfCON3w40sxYdYFubqsrn1573VlcUW630Cz1I2z/KVi7VPAOspRIGEMxsI1DXo+dZqktmg3zlJX6cd2IoRQsuALP1QdIIwi8AZq1z3VIdHiRXwvGjQNsFO4lNS/wZyfouBOH+ZlVLzxQLSYE0elI1BnSumPNr61w5AyflyYDNuKrC7C2Fh1168o5++Azs/Y7hMAmsqwJmO5rHsgKzaNMRgVHpb59BY62s1YNB1P22m0iiNjOrJJnvbYd45kZVqYIo9zPa/ZrOMj/+M98A1lvCBUMHJ6RFLba4+XtreKXLCyzdC1xB66eQg7vv4+SyCq+TEZyFLP4P/EIMLf/7L83cKUFApo+ZaMD13li+hD8tUAXM+O/ctxEdyVxSJCD/Rtw3sJLCWfFjG5Qbzt/9JDOGZiBuvwhNM11wJqFnTlr8hBdYwQN9ZdPuWdLpaAVp5Ca1x78tQU0qQN3ibXFiclbCsu+Xx6+9HZeJ6j8cfvnykbbg4cATbCW/4usOafNf72yj8NVzqr75hLjyYdqYcbfiUpJUw7YAjFje8k68jLpjun7XJnmAumwiKTsksFJftD+i7D3gGQnxnmRBBe3l/1OFXtFmpteKKLXJiUeR0TsCKXxxMzqSUlJhgcH7wXmHq8Uyrj7gH/VRyhAlhXEebGk+eu5Y4BZjUbvoJtANJoWXvpfmcRAhRGg8xLJburweSa193RaJDVlJpykKIPsWnCnwbpyOhbJQmOV/RCNz8F0JKYpEqtNvu9IbntiJKQzGooQENZCxVpwQFtrwWNXj81e3/eOeyOk2WSdHvjbJ4XRrn1cv7/YbrR6nqOc7TQITc6mt3LRKgQi1A9MvafdOxB9KqyLtzuVquQoOnNgNX47pEiPQdhiUfnlmrk+l/9z6f1vjgmm1ZexzWOgVilSHKRpnm1A5HRXAYell3JtoDHS4+K+LYw44Bu5nIFHMDoDnYgKlQf9DpcSNTmszZRFL6+uxC5UcNeV8w6DC5yOTlyFBVL6ZYALU3TnzYGiPbsaZfqqpMve/jrPC6wNJGoyJp6mAI9AK5kBr/j6laTarqZN4NHT0Q4XDNvj1/Yyk4UBunIb6PKNnmfIQpOQt9SydL/tdND1+GnX5/rM1N1aAVLTnSdlvmN77yD9+2vy3/jAJjkx3DYHEsvcTxm0dgiFOoZERDDC9kJf4gW7FJLV/x7PE0n7mMUztVFYxpV3kDwDTxewtiAcepyX8THrVWiLowBbxVU34jI8HpYydI8wVnAVwKtFJo+Rt+McT8sSCCxArMvSLEJM8Gc+L3YzL1NOXIXE+K3eOiWFnzX3Dn0f1JMQjgNh5UNQkbrwBCKIBxUQ7wYxj2ZBNQOzp8LDOosff3m21HSTzAjGx2SzxONp/WHigUZmNzBSKrLBeWsx7xh2/yi8+XEcsFnRIcVauR/ThADg5LMHbvG+sKF4YShoesLXnVP7q+Cym4CvaH0tjUdAMRy6pUqWQtPB3CIuFX5mR4J15vkGQBUPbMBuQluD2DPlwG42jkpf2CjD/1eKixGVOu+7S0nKLveTOY0HSyTGHsdRN5phZuRl/4qfsOifH4adyreYU/w+ORtQhorbfHRIlwfu1KFGz+lcv4fIyBUG8HErx6qa35Fb+ElugM6wKHLq0IE7kwaJz//h54ii1cwzvr5fv/aRT9xNy0l2TnA2Wu3u3DJc/RMhhp4349UgWwLFYm6EM6DQMrj2pP24yFilINgb60HMSCpolKAcFGCM2KpWijpSXnncniNDcGfIh/+JXlYi8pfJwN0TngWQDWqSj8XbFsp9HKhK77y8Drw0Vac7ubAd5FlhhzJrEUKvp6ALi3LRvmnY5oaIyd3ayEskZDybzMnZpi4dxDBmUTpWxgB1qfsW2lXdzZIwQ01dlpqUgzac5OI3btb6joOv+hUJ7RrcOOdCaEMR+WD8D13yny7DDIYfORzwT4FRDgco1U/vykmAf4cYjyP6ZyBEcd63MKuereXXRhWJO1UHaQ0rnYOY1UzXOFIvzG3+JOzVr6T/z2N+vuyTmgWnUQjTzCUhzZwzSfW0+FZhU5EmRqSl/99H2rp+GSlgRXQncWYbr33dsLpgcyR9ofHNBx9P3UeYABQvCW8MrK/2QDmtS9jstBqHIEjwTo5OlYXz2Hy3fSdehGJMu/PntJ6ZUgKf/2680/b++hwLEgnZBKxz+D1aLuKgJgh8bHU/cXyVoecaG8sxEOO2YP/4Dd2ebAC3jZwlrEXCet21UNa8ariSG95mS0M5TGuQo9F66ZF27FI+Gm1nCAbwVGWhOIukdjEFKSdTqd+2Ixhhk5Rg72M5k0EOBWgBIXevrfZLDPiUgxbdBV8dmcp6WYGjDouGCeaaVIg9DHGkxKEvxpvk6QHK579lRvAqNqzDdkYZyGS2XgoGpvTb1cfdEDLkxXoRDLbpExKzuuFQZzxjeXJ8lVh8jVhw0TVq3QJWk6GswHkPMy5TTeBU3SZTYr5ovd1TyAOfJbMAOaEUPFr+4kNoGmYUHAPhGaG6U7UXc1MzwQrCAWK0AfGB+e5SYZIvXdZ+oPz5mTRp2ylYNhjTPmuPNy1YraZfCrBOPddrblGHnwnuMVyurq4+t016UGQreI6U2jZWWfcr7SgJMT9IArh9Rda+ye9xn888iw8Foq8HCKcY0Pn3eMUPfmXc5/nrBhAa6Lqeh7oGvVaH/JLE5NtbR9+G4kdPt9S0W87GOIRxwVWNJ0dCZDGgzS+7INQKeyh4mPeylk92o4xXGWbqZ7SXGmSfNxsxZBIsI383FcrN8uPokabvw7MrjmaHBd5mxnM1ZO5T38LM3sUznkBXgjK0856/imrWtAow6DiwdfPxeTE7EiyOGqP4EQ00p2LrauQer4QfJ0NMEAzaZCKy3ZBiYW5D/FQiXx76JqjGyBd9VxQciIAaCJorjCJ1aktyWEpal7U7v0cwciuzdCkIahviOebGXHqTI9l4o45YJGrcGSDdcTIeJ0iG7lUZG7d8P66N67Ncqgh9tYzlCDBoX0nCU6bd9a+asVJbLTFtLrfJgJup2ZlC7CEXuLA/1gKPTAqpxcsexQByceBkzfE3sjGOcs5qyEJ8z41Jnrv9XHTn7JwyyodMXaU3b+pSYpszXvyFa0wrqFUYNp5hDhvgcw0fyGyFY2xou8FxfnFg9nVyj8+X4CRfoWK8VBbOtexTT4clpdZb8PCNIyOETIovzyJjNTvkGIoL0soE3KPKO5z/WmU5OtblNPd9maUDv+JO1QxxmvBTQ1LqH4iFnjaVUxO8CExqZs0oKz5LKzndBonAu1n0olqmQrOT64IFoc7vJ7IAg3JSpl0EGeyLvlywpmrFNlRRVF4oHIIZEnsvv1U3P40joN+ZqXSXzTWdheo664UKMq99bSdk2PDKCuADTW3xaJuvG1YH1eiquMb80XkNwf7CUQaT+SIx+PDnpQd+6x5V1Zb9LfDAN7aNqNgzM9NDFceGxU2o9I4hQ5NCAgas7idRvh6mjz4/X9fxtsDoseYjSde5BsxaFVrcSn96qwRKENMkQsLz5J9QpLxUiv7+J3aOVVnDmcVUV7ulfMp3OyG/GRyJQaTDMPWYy/eGTICIKe7ph4jI0pjhOz9qc4Z3rnI1ntZzeL/PBmKoE6QeLPQbIKrunVVPtr9jzvelziHbbu8Qusjuaa/1Jg3eGFxk3IYXiJ6P1H1o5yFU37SunxiKwqz3+xJTTgO1oBVjoa4HbTNMeoxMWIB8tQlVf6/f3rlIotXq01qGzo53e0tH6N0kmOskyrLBIe/YCUWU/x+HFF9Dl1uB4YB3L2igwqSOjFMCcILDkFUHiYFJx54jdjMAc+FIjXSZ8mJhxHZXl2d48VRhHAMtsve/jEuwy3h87vldyVocBs8r3ZYJomtfC/vI+q99S6FJi6T75OOjAZLV1G9M3eS9J93wXhlha/PaJsdlHzhIsrDvN7L9H8uo5XXi3iP1aRDtS8SzKg9TUN3hgYOkXi4kevaPTAuLnLCGk2Gl0qnddh5cVEC8gUMzJEAWgG1K61/6mRmB5Ij1BHOgF+urLJrJ38Bd8TUYQi0btHY7hz333iUECGATrv4RbSYAP/owPKY21rRTBALo27sD+AgHxH4tsnwJRzNKYFPm3+cBvtjao8nxU5cvvznKoWAnvjzPl5S+cjTaNMhMotwGWCFlMG/7YXsUMwahIOroHK0YjmPlDhNb9ZYc5/qQ5FAFtVE7e4Q0cnxq/MwyE1I5WswoE5XOnkUOWJv98MNx9wD8dRAsMJtH7yh4LN+0aXZL9McWjPDdir2AVxRZMNOscizNedbxhYU1O27d3a/Zk7htmrweFIKRWkDpPt0IR5UgPSywBE97X8pzb06c1gbIwy6eC41cigITb3wp5j136Bj1G7Ey1HvvnbVWMhvmxRyD4wXcbv/xI45bGdHHEKiqLoGGFkEDfQ3h5pcML/2hlv5adsdOIs/lUDHMGSLTIRwuYngULqWo11sLf+LzfTb5I6r3IYEOm8TNHVGeziSoQXyTsaRbeNyhHfDFDZhwGCO8p6A+MksCBW8tvnfLGWE+uFcf8zQjAG+RvZ3HpRN5oGWbknVYv7YtTMMYApHyJBZyDnWMLpirFj7XO9glsApZyLga/1mWEU7Y/4lbDOpKZI7ESOPODEUTuqy3Aa/tV1kPmOBwTnTwmn8KcFh95+1cGs3RqV6u2H1sA0mJxKZhWa7PwNlc0Yt+uLjiFbdFqW5U0foCWXLBHRTfPiL9D6LuRYTdxvf5So/blBkY1QUb6o75jJTZc2zQMfsldtznDDLGow/e7E/ROzumB3gWOa/nDvMia2rnI9xZCJqZ3HTWTCDGjeWQPFBMf3Eaj+6aRRxgnZtmdjl5QWmi8rQkmb9lbWY9WAoaW0V1HcGgtyv0g+ZOWVAn1QL6VuxVpT3lGCwnUhsXZkdlq26+BJW981p/K4/lUbHR1Rn5gdZp8SQatL9B8yd2kag5DN8RYmSmWYQmIIIl7YF8oShw08j5DAJBe4e87nWvMs6Xs0dQoFLQlQzdGiiDRgOTg3JlUbxtWTgVC8wPpQRlrF1JczFwwYeNrYcPrnZaQez1tK4uFgvq7o69R8LSq52ByRSW7f4YZtt9VXC7s+nLZOIf08p2ANwecxpbCnFctTVIiArmc1by/lnxtguZ+4yjTcqpPKf7fN61myKUzAPUTfrkxq+TBjYVzNWu8hPZBk3P//F9hpHHnElNsoBHanVojPtNoj5YLOXkFHd0OsVI2UkRI+4hkpB9+1hXgyFECS3KgD/OH++d8tE+tCesNsnDX1WXmcAjWlOhsjkoo8HDxzdcgYZeNaaimz1baLzC5dguGq5EOssljMq9I1/tz5YzmHrVe54Jlsv2BxfDf9Pe7fgZeHXRq7dKzzyuKWTfnzV9wVqPU9k3kVRl0KdCM+MJXwftSNtsQu9y4dZstK6+Ar2vxQTDjQWGxKxhP83yA4nVsrd14EZrYbRqUnfqSRKBNQwyAfvq8VUVtIZSU6WnM68kyp62lq00U3I1uY52sWp7KsPARzGqDyrS3YCaQO9K5i4Nek/RrXalWAml9pfVyBaASG7a3c/csxLMmiJJoclkNDfNV1gCnU/FaZByVSntT+Wip8/jfdru9S/52LELjbGlJERdqHtS32AuIAyGEdHnQH0EDKWduPrBopcYUHRb8PjGz3GxYKAdxukN/9viZtCRUYmPb4AcQ5d1dd7XLAkoG7VNjwZQ/vP/Uneltqer3Yv5WOi60wUqS69l+tbUYLyxXUq6Wrn/r5YKNEbvrcBUpjszYo94uUhL8sg8kYThBSWbIJrlKKcsndXD98RCAm1T3CrSSFnYG6+hd5b7c37UDb1uczzMnrN49XNSXGDByhrXTJbSwqupKxWA7x4uNAqY9uHh37bLp1XXYLKladxqNmDZrgPn7uYxZWaFGXWFCWUmPp1vCjn3WNZctiXIMuKxkpIYKg65ukxOXHf8orrC0sdvwxcMQWabIlaqjmLYGSo8QdySpf+yuMtfuc5dURnnaBaGidqTLEnGOsR5fx5ZPdNVQf/rFv8Xfj3gu1wgpZT6GUqJrfbEKQbYE0ZHvkfpQmlGIZ7M16Wf6KXq5CGVOJV961fPpwykc5gVxEly+oqSEiMs8wXv+uffCQlKlr9xyjdcE83UMoRnTEJ1ORFMukKx0jsptrfjByTb3YIJu5i4UFRr5vKdsSnSBYn6Ymx5CooAPpVmhorvjbKgllvYDxbG/JzZq98hFt0TW5FyzCICPYrLC8ka9jeWlMknbreKIMSzIRPlV7wT4lcEFkOrefk62/LgDWkW5CRCjj6MqMVTfGhyVMJjEuECSToezHeBsObo7jQT2YZh9n97WsRqPH82zK9y6pAhgJwp6ydEoQ+1BzYciff4yl16/+j1U8EvyioEFCy2X2t1X+bCk8jXmBudd3BuRiQh4OQ1NkHlqXzL6+DTkq9LlEYR/3T+Qh6Wtwfwr8+Z0N781nAahu5yC19iQ+MF4qO4C05aZhdTBYZhEt8yOKtzkrow2UYPaTyty37l13DL8zY4u7XGi1I4vGWSuTcq1gEs12UKz0Gr8prgd5ruzmwMvUDdtDOM98ruQ/S+Mrg/jwYOhu9q+53j2M0+pxs+gdf8PaYkGLqgx+PjAkxWsb9kLtX0q2WtMwybQ5Y2gkbVvfUnAva13PjfDUvaD1gqnBvjWHAG9bLAxNsUE46axKDgxf2rSuKUV8MOTKGRqDwZYzwvwBV410CEvWb3wEL+JmeNlnqLevm/IBrVOnXILMFGAGzXmJdcrz/4uILT5NOjqpFnNtWuUid69u7dRZlSNP55lVqw09X7EfcX+sthCHVIIUukqqKWIUcSZi+QPmsBBcIby/he1UQcKhX8GvvZDIIrkFDNCWpS1bSPvbcM42uR4HtgeGRdk43u61gO18FHmx8ey7tTyft69P2qOukfm3wcw4uWMGsTdb4uFk0Pj8m59gDQiKeao8NX80mFKvJYlen4emIUuxDDbdoaLYhWLlmdOBhuZMzJY+oqrnia3oC3jcWz70XfxkaqE9/xBIY1vwi0vNqHMw+9XhgJz06cXRVNEkWldLy3aj7WvtkWybiis+indCpRIl+XvPmR8/+5Wok0gQVIVdea6qn8lF2iy//BaNY0p4V23sjqTluNGlGsV+B8FIOoZvwHLbp8g3Swau27KTNWEqoJ2D2fea5VLfmm8EdcX5wed+k0F2bsAYnN15REYwxMsffknqEvGN1pFKWqOt/plMJRQq7xuWPeQNWGZC4Zg0SAPmX+CdE4AZ7QaiTHl17oNPBRI3+qTSVo1n1FRmSdXWQgi3dFD5fGDe8ysZAJYFjw15HqW8TLqWgBh7o0G5x6sMmAz9BATkwz49mhVf6uFLk8qeWo+nMq9Gx+dhDSy3KzL2DZKfUyWdTUk12NLGYjD7NrHw3R/NXz8fXphMHB8Wh8dtpa/7CW5agIld+1JyUKKzK+OAeKQNRy8Y2S4WZpzkIeDpevV+vzFgwahmc5p8uKCbzBX7OgLCrOcyVqZ8nvMRBH6IPfpwBSKamCZ8ia6e/D8Y69ArW/uik6z/D9MsBl7qW+0hneyGDlHwgPhcY2EvFxNRN4Iwc96+R1oGZMtpzay1WuC39WXsybz7JKAeGWP9sq++rm+CXYljxfVOoBr90jgFu51+EPU0ENKqUQDr6litGoOEYJx5p3BS6Ci2tP3pJD2ibFMQWQb1O72CM9q5w81uzIQWzL7iUoOgfKEDKkewbOGUqrBAhz6EvFIilmXi7e22t1hZvD+ZYFA7p/RVmPY/hcEa9fW7B8eIwwV2pTuElte+ahusyVG4Tc1NjzjN3Yr+BJL/BCJeYVQbrR7TKmAEqy2/1mZ8BPd6AuGFWjHgB5DqB1E3nxICxRIyAU3eRxHxPJ6gjzEC3NzvUm+L64GHZlirgkpLNtG3a2rI13rmxfkD8R13r+bgcREXZtaiUCQomxFSxQJylUhOeRVHVsK/iu8Pw73W2RF9Qz33XbrbXNVvTPu1IcdTNAO/4yH+Lu1JWwj9h7r1FboeBLZK1fVrxkgSyUASIOmAZuTa32Em58PZ17yPRfJF95nFx0elNdFOuUFDBpMAWYbxCGwQQvNu63cjlM5ere3w12fPQaAYnYJZInKhB01+UUX8vZYSziIg6qAwxprWc9JtHVGZuzk3MRjtdLG/kfEX2bp8gKkEeX9C3c8cv4mqgOAdHoULfn5ZxhPY/g9crLRQmtDpIsIVYNmy8AySwqP5OGPxyo6P9zYTvphYfCafxMPyl+IHF+7dX5hl27YhiT0vkmmiD9BV5LwAyuk3uUJ7QcFa5yVrKwAwJuaQYkfObja4upzpeDUT2HL4dFtcw8NPfIG+ouG3SiH6TAaa/nfb2IeAgxmUZcfKeEo57jwZOUyN1Ou+z04YD/wENQWgPivAIL4F+EzUL+JKylee56CT4rHx+5F3rbrgJq/FQKS9yZbmX+kScESrd9KBbWdv30aVz8eJkQu3mtASWu+T643HvXvzhBk6wevdKcbOGwR55r4U8c6F1TrG1OwNi37MstX8RGGy9hQ4nmtsUeQGLppccWeULw1OZE//dZqoA0SS358lqehvqTX49tOU9TuvU2oWc6/eismR3eQuBX3Y6Bj9Pk/RtAI+IYk5qv28AIe7C7MgZHWQnFfwKiNkuMXUYjSL7o2sIZckQsRWVrZfV6bauHfLeKru2bngGD3uOcD9l8NwDSP2teWNpcuG0FDlh9hAbUTTUtTZCPSPDdQqNJcr/Az52Xya8nQCvSNA9aOEembsIAlKvEnUiM2Nwddm8bgMC83iOOGb+4Hm7zVTKjNG+lrqYtmHQ7dSN4vXqFoZeLMkYq2Z7O+OB52OLRY9Ol4S+C8n+3X0x8dqIuP0ZLIQuuVLg7Vn0kyX0gYYsw6C3eNUm7zJc+4kKXc4ghx1dDrNHm9ezlpcRDgIeMATCyINR5T6ORIoublPbp1ZP+1dvFxRDeKHoniaFAKJum2UYI2OBp20Su/WoZdA9fa+XWgwgt3YOfRDR9xqIFues7WLGDo35DLKqhqaH640jV56JVf2+qjbES5fXRKTZgf2jYGuu0rj50NpzBJCPCu4Eo+SShuVTJxbzSZ35mbceJH5+UwvKDc2o8utgFAp4J1lNjKhla14bJKH2sDhBUFrtHyDCgyv5WgF4fVJ01B8rx0nCUyOj5Ni2sgk6dmuAm4owxzZ548HMx/oyMZTxfz1sK768F4a2up9ZIZChP7eDIxl4m8bwZ85WsFufEuHo38C7tRjhXT/rbbPyA33BAjR/gs51MahDvkG3iaNhDW3Ur1KHSPrxGL3vPSvkb7MTblXqF+54F3+G9L/PRuPUHZXWS1odXgUUgBtXOkQoWH5x5qazG9L+shgq3rC95//fc+EEXI60q44SoTBKnovPL/SlH+XhUisIYgYo+ZR3RAs8R7xUMrSiS8efGUDMow8Ab876kMWREYftka+RRmOE57dEVghjlV0TMT4JMWRO1nXk8fK6kWOpAQ0clSHDS0TPMfEN4P1RBhDAgdmJmQdJon6GP10Nr3RHbXiwvcw3MDEsDJhatiP4+3Ux335G3a3Y5WZ/QRHo3i15m8XZ31PHN42zn65LNVgFB7zEcUeXCAQcvgEQb7GyS/QiHl0hlKtu0Ti+k+oLJpLNcKE8U9mQWLD0vrom5C1gpcvZFU1oKAb9+G2m5tBW2Lm0WhQ4n/bZi8sNqBRhy/vHKm+G02P7kuN8/Ry01gC5dYgLenrxFn3Ec+r093tLzfx7ZT+EIXuCGc3CwzMzPPmPpCSUTGN6WOMwjKloZ6ZGlAXn8Eun59T1HIXP8CUYiPxKKfs4Jg4maKLAY7MV1aBLo1PEJsEnVii7n5IXLAJlA8Ewlap6pKvQPBqQ8v6vhkRZLO1eaiOGMIK40PbWggk6zjB1QLS5ECnVQF4nZOPXp/oQzirjTk+R4zm7oS+3bwlJ8gzFmJrYDC1nu9EhlCeU8HcS1NVE2MwiScFPg2JvBjo/MveyvV1vu5qupL3N8O/EiQpcLJuMVLlBN1ja3XdbbjkWPZsO6J9rRKXRNF1/CmFg4/axicuu1m7qaDawgQjZH2ia0WKyXFmnpB/eheDHkERvUdZWAM/09vHtfOujcwEwEGuKdz3w15UbrvUmL6E+CVA7SeFWO/YXoSN+oxPPl9AG9WilkGosR+cHBXUgvZq9R+XG5x0d+jv5zosEWvGzq+1A9/x7TuDcEJgUksXfOoRYGXxYKrCqobTcNO5llL8nDf7YsZROZS3RMtmgW6n8bkKDk0ik6Gl+4mB4TMsYASJUvy9iqlB7lU7v7JlE3OCQM7XkGvXIVnPqVv31xoIV/1EJCLAtf99yzYgd5tJAu74IBBPgMFzA7B1NfOWEo3Q1aFyMgwBrHvdLEOnmLme4yVUsFMHGiXB+QtukPbum/2tMIp2mCDElsKD5c/0aqT0HK8FKsMmS74UNJJhoNaWKqSsL9Ogd6JixykYlFfxPuKwphegPDrGW0VwdlF6KoHvG9cAP8OD1c8N/XicjDgDogWJdCSKmVQxsbPg51QbJZbt4j+A8dqS/w5x/2B7Il5Q7vxgexyyFowxCmGgd9SrdwIIvSxhZvEbr0SwZeOzdBaOr1lvi2ePUoPKm5688fKxLvRculwZdxDReA/gYh56wpwydVz6L72eYENsbptGM5lPdMkDONQKaJsqjC5qcxcTD8yRPW22yRv8a5E1C+nhLYnpAzeGoHLAKgE5ApCi5In2e9vJ0+PCYmQ8ylnzx+qO++PtVhp3SB5d8lH3oLfd1JBBjMBgU3fv7PtpWFyrGdHl0dvS4UFZZNofGR4t9SQRkuZV9O8HJd5k27yjnGfAMFP1brh7M63/66SHMMZ3sWOziR+cySH1FbY6aECcjYblNZqdpE/9SytI3BEEtDrLd2EFaIZQ9JL4bMtaXv+swd2ptq3MdxW2m21AW9MJUuTxPKtCEWsAmBnjuMJ7ou5AqPbfcz1YRaoMDdozjxn2xtp4mirMlWvFG+y5x1afnOr5hHWW2VMP6yntKHM0jkoBYkiOkuXvzyY/lpUKoLZbgKME0Zs1OwG7hiYNw5Lu46MDDxfLoJyUtU5CDmdTHOXHAEavdAlNgO4+WwA2t+rvzgoQm3FSAzchE4kzfoe2kEJo8z/LU15CPBHvE+m+47MdW7+6Ay/4Gb4Z+lJP+inpPmUl7yyBYeugIzXpr3VtwpGlbObWxJPtXHSFVRZvxWyD5IvgHkQYQnWdIq/Xakv8oVi0mfKmY1OZNH9a9r+fP9LfvwyuulAVlidwAz5Jkl/yJARdOdCcHcd+CtyrHtlZooEDTf2yvqsh9Rk6wvHZ2mCouzK62ISvkRvPMYsCuKFVHOjZz2rTQYHhFJQCo89Yf/N9+abgp9ercue3oVOTUnFD4rjmXqJhmDmOTmnTFLjUUzjy7pgFigqtfSNXgLJNdsEM/AmGrDzmeai1HK+VJF708XKnxGekdOQv95PSHf90/njQXWUUN4LkF7bpIj2fKJf7ZoRJEJTSXz8oQI3USfmpxQGqJ9qP8aREH1ig/6OAAD1ukOlmIw0JCcyb1S0K5yWNCFLkbC5+3XfsqycdLF8yYVeno/D16SilKf4FHWiGcxjtqsOBVY6VwS5XxcWWXvZI9r9FHABKSyoPFYeYaTtZyLExpoByfy0H33YmtDsDQM8Xvq/YdFdUTY4gfQC4Ybq+0qrm4HeGlifKYANTEkdvGwU4ngOlBBCWt3yivyvRZVsI5S+21FD3PmpKhfgCEMymVe7QU8GEpzLF5ZIPrYF8rGCHppV/FIFTXDx84X1l75JPxOrHsrtIuFl769U7ltaP9+Q/tmxhUPVpKHCvU35pfDd28lKS3a+eN86LW39TEgTrzO93szqqjn1Th89be8n9xVua4f8uVD9azYsmNwqzbCLPV9hMRemhnTQ/r3TfYYxfnSXNPZx4+CrLl29+XDq3foqYw5d2C7NRI/YpFwKn1Lni4Fz09RYBq4IXigOY3vP51LLJ//v/XdmQZyDYrQYxpM5kvoUxoifv2RKpqcdEj3VmuEPfc3qmxAPw1WP66jrAEYe21iqsA6Yr841RIvoANDjCxVFYT3oSn7UFzOOeH8tTLaDYW0U6j/hQTGMEot96nJBwuw6X5bduNDXEcEbZ3HKz8TyV3m9ZdfjxgPGC4iINgRq83tt/MuIkQmeJhFeVhZw6/iwAbwUUh5QjcTe0UEsxbHXw3tfXxjNLlShiU8adt69Yr1/OJ+/auX8/JQdr2YOCcqMcqDka/LDQ8fNjvFfbnMsVpqQoDGI5Xg8+Nm4eBgHwjMrFukrFjW74wi7nDEso5NCepLFH1Tzy9MyRjyZe0m+AM8SMBFa5THAHu/WDKmoKO4LujiwNInoegU3aTTDu5zncOPJESr1i7tQ4su+C4vtAsc6qnXJtEGCCSHEj4VtoXYS/tRZ/8qBeCtohFi3TGcOA153MMnwM7DtPNnzwz9GRCDNNAauiwUUZaEqauZOhIPNkdmrQ2g51aconAYBhi1nCflz7UR7o4rFd5VYpyaH6j2YYvuT5ol+jnUCjTkB+rHMk619uEGBnUnsUCTUjZx6N9wG46jSXLaHlzQM5gFf09BvRKZaHhe/oIs6vap+xca+Z8dbQD2ANOo0HguqW2Pd+s96No+I9svjEgFErJqOo6/ShfyPCyR66IPOqFk1ShCwLSkFPQIAhG+xB6SITr5MACugBeeoOdiZUb5yzQk6zQcesS+ti4U6i/3yDKQ+caWURI/roXkJqsQGFYYfcbkq4sFEvmKtFC1T/Tvv3d0/l/tQbfwhHqnlh1GMVjVqALSU/ap7/I+e8cg4eDK5CTPrkGKQz/IAb+VoX4BCG8GO98wIFdFaF9Ofd83dafpAlZ4v4E+dLaql2qZHea7n7ykoNrd1dp2btfKKIF+30LnICwaHRXbhNLh1QoxBhizjPvZ+cHG9QOLeIw0TJTKlmEHh5LLTeCRB0uhd/M3kTLXjEwYbHCs/eAfZg+qOZyxKTpHgVq2jNy9+BjsTfUFcemrk6gh6Yaq13XDBKGjIAP7dtAsndjRjTdObC+k+ecL9Qls47gLu9d3301MIFadh0NOsjhBq7pDCoPATSth0sR7YwXHaJ/KfodiprzY9XvlDIZ0Xmev6H+jGFH1mJBJPyP1fzJmizThO0GzwSAbo6PuKtSqU7f4YEfeXVKq/qFetyA+FhvpDG2OEPBV1a1KHFXDW8tlT9RgCzAXw6GxgSjYlPvoo8cm3TXfaa6PNeBrs0AqtvHWw6PesPm9tdGlBT975qdUKUDN2h5TK5XcM31EyiGOSa7MlCAeQbG4TeysQQ2Bolredxx/k++U61vjl5DqcPNTDH5X5Xc5FGf7tGpbWWavQtloVarFyIUc1BHcu0/snRcu7nM4It8gjmKVvqDWjzAgfTvrmUAoRxZBzpOIitQPmSB3FSZK9xKOER65I4d+aMCD+fRhEU+P7wmvpQNXQO7zWSeWPvuhC6uFgsjWqznFh+OTzl3vtCbf2yKJrDV39yOJxPtepqxqq6ajkUQvOTAxjLUbRTMcixecAuo+aCJkks71wynlvE7q72lP1YlQVCqbRn/5a9MKnsxqVyXrPVde/TwyoT3xxzIUujcqIvqYNA2WFSbwz1sKIHUx9VRachmd5XxqQ1UFZmOSrIw5jckctiMKZVFiVsVv4DbeuC34s/gYDYvEmaDhU800+1xPqBiQEBxdLlCHSrdYNi3zLHiOTyFpmJVdspcOadw3C6g+JK1KroP8VoJcMCqvFw3ENXEvWWuViIV6mo9sbFDUodGzWl7d6cI9NF8DFGZhXmyobPd8QZBThjieYtxu4PT+X0Q6pGMQQkatej32oxDwAd+hYxXV6LoXAc7kunG03WS8weI0t4zpPOkHuUJJjeNzFLBjSTy/5//fZbNf/drYQv1a0MIrthGpa4TepLGMW0jmLf+wzTpycdtKxg7m91eCk9fWk5FG7NKO7jz9HScNDj7rMMC8x+C0aCneAnFiONst3EqnNnFG1BRiAvNuCFu5lbYsk6pZU0UqZ1Usa4RD9q1lhKNdYGIN/Ib7OKVDgJ0bMo8btD1JSaYVck1YpaFuj4CfpvISW/fCpU1jW+iGMZtItzAh1c0jkSy9AU+X1e2kM9ZzQ8WfxMVUMSfr9O7RC38MrtjBZ+REytfDDtz/ceQ240d4e9fyXiabdNmKDExhmXfhB/MuUHTOD8dnncGlGsoTftnrT+9NmmqA7DI0lSlhfUYZezPnz5gLAhyPRprZrIiFTeh8yk/CJrTfj1NhhJKmVLyPOAte6BJw6/TyBavVMGvBF5TndR7c99sGyVRip7S8VxbfWjnA27SFuhV9PXrh34Qvf6p5G+VeE1uN1fKdAZF2nNSdG9entvRA87cqWwgX/kQF+eTcax0EBUlR5gUNYVo/VB92QmC2CIUcF1YIGLV+EwX6JxxPPh4XaYWyEdxneVz4eg/HfGvCqveE/IaP/XBy770lWoOwvmBn7vHdHboWbkb9Av8Ud5syaomy/GM4nuDNMjq6uaE80EhA27h/z9Ki3Kw685YiAcuq6lNKH+2jUB6XT0g08DDEXhQnpAEJY9m1rdAm/pOyqNOVvh3J2u6YkB/IXUpfc5o+VF9Bs5M+B1ypJgt7fYowJ4yjKP5gMhpPtHeN7d3YQV9B8zrFcXdwzWQtZsv1ntUtxICTp4uQTOlqC+U8zohRY/zfCj/adlg+GdhJv0Bhd+f5ImlioK4tLIpi63+NMTP0S5hAgtUHVTEy9v0GGuhddx6lTWpMVvOek3aWW0R69xlev81ww0ROxiaRvzKh6S7GnoZNCt4nY9OS0NzZWs6d28meNQzG6QI7eTM8wEaRIGOKAJjVyCnH0ITDFayjshsncga9lzclZMYFK+37JHyFrVWFFdlbTCW9zUs0vXLx7X5qHkKV8SHuc0su+pM3JVcU2SXZWHejrIabNpfk76VWgiAE4evDgxo/yLp60Sk6y5/fTmsvsiNP8DjCg9xJSUT0cUdlzdIRg5qf2/k6b8lnPhEWdOgKrWhVCUy8LLpEeVhfLs0tn0sLbLqncwRBVR2tE8AWKv7h6BdeiBEo4xeueiizzTW2U1t0h5ETZpJfqPbpwLXHA/Dt39IM7rXD80poI/didSmkUK+s9CmaCSGBJQ5QcIZ/MupN1T8YJCeJqyTjl8rQLufd2yoDQvCYpC0rsGCz/8PpMy9IvgomSzt/kh8fyhESc7ZP92Wr1uKWCPwwH8YTssDjVVVK07gSoT0qLjAt2GeVsajL1bJWZN3G5xtjj1PQnrqC6r0Pt2Zy1VeJDZ7LLbp0w2kcRu8DJqTdnCtJz1bALXIyVHoP6xLHkMXLUGQgSw8rcjJRX0UotVoDfDyeJCw+y9Atu5feZyEfKC2vZIzmTa00KhhUCgQXKDI3lV5kjALxFQHNV7W4u5aImx6+UWi1lKiQoaPwXWB6y3jwh7ORlnSEk+iiKZenHN4lKr0qm8peJKW2juQEw2NlnrQSdqiezSJ3QbXU1nh9yWQ6WhYKFPFwhjl6kdAvtdB0ElC0+0Itrn94nHhxp6S645sUwCUzXgNthoesPpMHjtcK6jMfVjf2efoisEoNyH6+pavCopUVkDI4xr4CqtklZqEg+xCt3wt8jsGIP1wS5TPGuq1RoN53neTzKDNSgrR65F+nWCsBZ9GMpaqerhb86F8MJqXQxvlqMOX/+XkxgDUVdOpPAq7otXG1pTxoxxLNUKY5n/mTPrQX1UQpyAzJDpUNQl5/Z0auj6twu6slWeyYttRGhF1XAatUTMp8j1Y3BhsFZs1FU9AIlJ30hTlj/1KQNYFnzTL3b6hZpM+qE99UkF9bl+u2G1VfYWMKekb3KirchyeGTKAeyo196tWTzeWtLgzy+0Ouf0I1p+U10/ZLorPlFV+h4XdJ8p0F+QoZrtaJ3/eUnPcWfsaZYtvgxHwODKDF3Cd9RhL634DsUEWD4XHP8Hy8MKNbyXzL8s4gyXhQ2PZpWOtp/CEFfPjtnAbeG8T/uSl+3rnqTczLQAOBEqkorHnHKrq+8ZGwIW4Bwc/IWmiPk6t2xlKHqpoAWXoKcrilbqfj/j3Y1d68udkmNKlQiFKPF3510GC2GQpPrCOnyKk//7VsVauw9XNZDf2Xuk+E7+5blkQLUNj7rSFd8RjUamZ1O0OqxKIY8yRCKpyy7za3cV4QwJ4YCKtL2WQNjUpB+5EZ5AP6kuAXt8IRy1YkzQg7QWiNssC9/h99ImPBcRo9+6HByNFI2oPKyjyF3z1raQdprYO1pmTJMQwBnfEU5wleEa2T2Rnz2ENPAfnDR/ld69uoFfjUL+1tJ+nAyKc9RsRxCpc9C1nrQua2EPryqeRBwc0TCPiCc9Tldu4Q0hzsaElOKqqmWeiwOyZCvt+J41+/h7coo73lJU+tO1lbmFRg3wY/WlgSF128qh2U5upsTKPWMhXzDJdMniYYjCHFB3GbRSt8kNpiwEgBihpInDicJOCN09S2FsKzCLgcm0x/OSFsPfRn0IJ0R1/gDllFhvXjw5qcygshGpql3IWnEXG/eSE9+3CI+mVkQKm7QgAcNeHc8Y46qsoqQ7VQGxCqoawNbjEOr/GupV2hz2Hca2NraU8j6i4TRUlB4quMv1YQ/SyQqL4qN+iqxv4pSm1TY3XXJs3cMqwCDz1QpK+yUJYIHcIn354CQDBXBNruqcSot5p7RD1ftGCzthqWQb1vrysG8dMktTjpv9rtyKEKhMuzMr+qL3M2/I/usp8zmDqXYrVK5oAgYU4Yl+UQMgNKagCs4oa0ShucAXWsoVEoAoNhG9WybP5qS66aDpqYZiRY4sPaWWEedC4ZRDbEjx5sxX63pR7ejEApFufxfOhJQQK8HjrGEDDHKlyjf9M0Q9cgLhMp9HwqOF97NqFDmcPHLG/llL6sSl+eb4iRJeU/IstdgRf9H0aQmn/hnvm/TJ74CGxa8f7JsbikClw3YG8Db+g6p6+WT9TgonRvOBodvPbm4MWQtpNCqitGglEc0+cpa6XaJ6tszCeq1SAlYbh25qA99dnNIxXaYyBWqbXi1Zf3+TSQutTg9H6kprdM2Dry+f+ZeGUx+c7Oj/tVyPqhIJm6ycitt47TM/HWMz856bGif5lLGvu3Pt54/FX4/esaNrlalpKC4xBlh0mFzUKQVmApxKNVWl2HC/M6Ouyk9XdYaEkoVdW16U/Ea1Z3yeZff1i/MM2krLvIVhBgFOnen4Vi/KJlhvSF1tB9aoDUAfDSdyssf67YRZUGiNBHmzePrAsdaAGIXAZTaupo/yIx2OVY9jSM4gG/Cwhnhim9gAci9OgTo9LOl7FZ//Dwj5QI9ppHDGyEQeP6wYB21L13319s7QQPxOS4IKNVM5qSvJwi/Ru72tyQWdVG4e88I3CvY5V3eW/hTezjXaqvk7UG2S2K+AHHUxLvZQDNbit9WhFLcTlg6FPgPtX9+hD6sBQZ/Fiv8iukkFUAt4B8dS90cnAiqKTM0P7TVEHCT/Mx98iq7PmeRqLboALFizM6hjbbgZ+1i9Gi4bFu2TLwCL4PhQupwOZanMkOiJPajBI+/rxBsERAYhTHnLUSLIgBv31mKy7ZxHFXfnZ4ZajtLAb7QdG+An49H4/shXz29xPzEhaoxGL4St1T1WkOKeyLykGWkZZVVi/Ry8ZswKUWnsytjhUzjMSldoYtMffzupiAVFtR1gyzzzuKwAM6cCcB2lPSXxkrFCsAqxNlw+L35l/XryXjUUimusjY6XXcGy89Bw5NG608ggv59gXXwJbJwddga+CYKdAkqyhxtQamfVQd5Jw037EQkJwX2BLNyUWDn3MM6O62tLukBBP+xSbh7NNri7G9dzqQiDp1sp3dDgfPfMCb8oR1IDs4zSOuWebE37DbqGIPS4DGjalE9KCgwIlfqFbg+0JnIPzavn6gdohIA5AyxRCRegg/A0fE6uyEgN1dauBZK01S8QX51QzKHWfYlXksWn8ALHTheqbTGJWWWcTqFqLm7AXMLdfRaaIyYgdS7Wd0Y8sRXqHuWNvZUZWPH2N/kISTNizk6YLaFv3d/e5Wmlnr5/9dNjhRAZCqdSDVdFwJ3yTH/lIQn02a/P1ij1l1mPSOoI3veagtrwqXKxFMwsAvkAaE/gN/5a04idpDig9IGGcHKOa2ON+w05Q1tzCvpoMehsSyHiPi0GLkjBf93ycyapDbuN7ii9HBklGnCrTyqJz99le9uUx5vgW7bZkeAToaHM/E0Q3tF9yLMYeoODg66E6jvcm9MNIBsjXqHxPJlvjRp4arprqhukOcLAbX36VNZUr/QC7nuHdpEESg+Yf9uqVnN11D/5dTKGfoj4n49XUVgJK3KKBAwWzitxMSPY7BB+0XWU1EErKTl5cO/zbOGjuPS4kwmpNmwzLnhWjogsHaKcOzWSrDa5BuFT1pxlWvY7rI/E0lu/Cjz48/oAwRzU/17Ib7TT0DhHJGwKRGogxJOlqWQ+vRRBL9WOwbMxDAkvqiDkyloL3g0rteAlh1+bP3Tljw5/C6r+bAm6Q+bXu/wq8nVIojce3Dc1y+22dl35QjU2eg4v2Zce9uW+P55Ez8W1UQd7GdosnYoYMxzsnhzb9DRVVxvStiTm7JAe9z2GEJ9KJJZkUbApk4cdc81lvGmWmlaRdVl5x5INllxKmChUUQnKoUfbBvaXV+VOuogFUql9gvaBa+zR1+mutKq9h9I+xDLX2tbhGM+KmAaCUWDFFpIwsqGPb+XkC3E37MCsWWClggVxaofz10Fq50QiaOCJsPr6qAwl402DTNfXF9PnJ/Vu4ZhMwXPKCrpnNPyoalYDzWsqpRrZ4EL0yb655lNnhVT5WQABGbsPbxzzPoRZ1zMqcwHAQP3FwGmybMH8+5Hnzh71KbVlt+RhRljZtjRUXmkS9ac5/bAJ85ApYoGlMqt6HeSOyDM+0QG3eYmUvRLm0T8+VisVYRWt0NXkIJdcxX1S819BLwLMduSX3xN0PxJJBI8Tz0420ueKSmzQqd8BYXovEzVD+zWoz5Jqev1Ovh7oktpi3wQMtlfX+YvkTgElYF0E8VX6DXreor+pXNdxYqjOK4DbbhsqHR1bo7WoaKNQ12YwS+Bw3mtuu5B+piQYBd2kAQJ6ZBd6jQOin28WMkU18alApsvxz83aoOHteh2ttsmNdoNa9WwjxEPfqkx/+HHbAq4e1KCMfJfoSRz8MvCRoba2wQo/17EF4uwDp5+nowjREZlrzAL9NC7pXI3xukR6LACVmPnHL+ZXAG/nXMR5QHIAqHOuQiKuTonztJMYFf3VWC93kiYJGt7IyAEAXaC8yv/VmCkyiu9Ok/CrkJ7jrsbIwisG/3raiGdEh7tSnvB6hsSBtUWhr7x2/mYgXVjJnjn7UDrbP2BUdGf594Au7lGarCnzYPnFrEUITzFVzNz/Abk8cL+F+FNpkw6KtvndvSm6WO/t0yl1nPyO8V9df/UdoaoY7jA9ipi+X0bDFmP30+28fWuUHburu6Yu55H+RY+OznBFCaSpQ20b5fdILp0JNub0c2LzdWIfuSxT2YcCRswW9M2mVqyNnZ5G8BEG2DX5tDdDUSbVUNhnFxIxkoRbsvTcXyKt4HpqubVcPLvNx8uqE0mYRFS5HJDLCdFvGHfGlY3hnFZv70ESYgDmFxsxQuSuuHAIbBFnMnDr8+BJgLZyu3NtwpQgemWN1CsEgK/78HAhHCjDlpIdudeRtc8qEOSU0WeL+D3hgcejwMJgkVmSKFMPUIsSOxcFbLjoYR5kusZPKKjFLzFvUtM8xR4eS+9Iyg5ovcEYZlUSSy2SmtKA1UilCh21SVUusNwa4/9bs4lxk40GRG+dIOGDL4kowNVZYRR5RojhfpjTOWs2h9Nsg0dgjOPtoLDji9WcimTUy08h9rKBeutJwByQwUJu9bVvjto0itVkBQi4J2B+WLxfvTkk7lFKewDUbFRWNk8MTym4vbI6Zb7Un5Gix3lq08H6Lh9MF4Oifv+06CPyx4SVL3VtLza9vQS9Tvmki8UyQaThWmvcIgoMh+mgpkXEPhjSmn5K67ZYYsW7pXK1Z8O2Pj+veahPtjntqiHkzDWSsEgmsuzAmGu4TdvZLYCr5U4oRL6bVCaaw3Fw4B4g7oiW4BveYsMRzRktFGdy9JKtzVVb7Na9M4YODNd01n6GilR1xniop5gAkySg+P0mQwOWWvNSsyqzs5keA0TeMxDgIkxiPc8ENx29rzAzWhz4e3SqYXoxDzBSTLcN8Zp42MofAPh0y2R+SrZltsgfe0+4LDAChGI0bprwUh0ELhyYm+UUZdxN1W2cmXEnuF6miIE9Qs6HQXAMA83u5A8LpbFxb9Dj5ltjk4keQOvCri8iRkhX1KJZvQcBZ3SfiLp1smtOiv0lUaEwq8plor6U1H/h1/AHu8Xw5bKkh6Taytzemyb8ceYKr1XQ2npaCdul/NQtcZkg6osgABfHOXGkiC0OPLiY+Iw4gwBlNMsar3m2HOXhAqbYB4FXkIWpmavGJ6/60xTIuTUEydNQ5iS9BWMc9Ya/wh1QCfCT22Km23DK9WhzXilcNh5jvwsioC7wGgdtvtGgiRm7q29G6JGaNt0lyu+ZEjLF9AtPGpHv8SXRsckw1rDc0fXYxvxG+6c8DDpXhPFTMXz7QFXA4sDfmZ85wEv8b57Ki9agDijKQs72FEO8w3BiIng8WazHhNf15vW0Yvi9R6BX5BMFqI/gytwDeSggU7GtpdwuyRimuQyQ6VKPCb8Oochnm4u1HPIZp18CFBhSqP4865LlHAo2If7x214cR5YGiHPYO5OmLWgXNFNLD6dwfnPIPWzlh5dT/hflEDwkgiCIok+F7qLmzCvwK1TUCT9f0vlrAFxs5sITVopWndTptaQtFqb3LBEdJr4/Y/pSGWioWS5pxRxr4JdKZqd/ZYyi16Zs2Fi5yK3gZ9pdRjjgI0KSwAxpPY/9te74h8MGV0ZwB8/mKy7WC9hUOqaME5ixLpNQdR63ZI4qrleYFRAY7NWmHkIQpS+F1n1PTGxndVrRZKFO/NXBQaQyyW7Fd9oVsNqv+aEcndXGjkjmuyqeIQVLl+E2VYhBpggKFFT+9lBGA8EH1yH0zWOCu8ysklkYZEnR5I9eJzKrnIesJJyBAaU8jgfHClN3JqSAfRFbGGgx08UY2M8BGxj1TXfWPCwII1gNYnLF5rQUZObtNxUtCV1F5PJAGeRqz9Wcu5Cz+KmF6ii0GX4I5gsA8kirCH/kXgdBR+ogV9mttEt6uZCZ4Ts8nPsG69cUBVH4WzbxBpgp3O4nXy+2k2JEaoLXIeGQLAsDFJviHr3zEmyUM5WODcjwTSN1fRCFVGHkaD+EOtzws1AAhticvKEacd8g46m3qhEKWMnhjSnYaH2cF/lfxc1JkJ1MGRVSwW08+4ADjxtqavr7EzY63KE9NxqcZU7tKx4IzgFSrM80/TJ8qPVmGzve5JVGdRI8W6iBFMe9aluE+dvBP6ruJyO4dVVkIJoL/JVg4EgKLBxVof7vEU/WB2UXwY1zHJxk437AAdXCvPscJCVe8lKwo7IX8vefHywlh/V5S0xBYqkkSfDxD0RuFo3WaFo4e8pLLt+ym1lXL6kJ7ALtoYz7IeQBjVleGgdWkTKwfvOxguuNwbqhb0E3711O7f9jTgYXS3EyY6p8Ul2E7kzYy/1iZLgphwDoZIRXgVw9ayeB/mWBRxaeBNLK2EHLEPVSjSWtfVV6ekYAi5h3fzBUw+1DZV8PWsY76H7nnMWrYJK/Y6NKrIPBNphrgiQ9/FlGTk6raUbqnXV3lZ1skeLQFFWZv+NmhYFP5fBNZlORlghEVP71ZPZ4iWsIQ+B8W+OZ8lSUl4pUbDXN/199ZWTB/lqbgN2Wg15JFHXvU6HqieP0yGoF6m5bg/heuPUj9KIpuNX2VZxNr+WrV6+YwO0kuQyqHK5VMjPeVdXfaDib+79TxQ0hIgCLhgeOMYJEMk57APpTj062XiFMicz6ue1SaLQpJ44ZBZK1iN7NW2vy1yZSSmf2tkArx6MR+chl3NGED5/oM+iXFMFO2HfUeu3jLJapRTahOx9Oh5J/k7w4BQxBN8rma4Y3OyddVmCmKxuNHOiJtPfvrvc1yU9UJk3mThwA1bGkBDj16sA79UAPPynRR6bo0KBURrAwgMpE5SFdpLS83j5bjVd7/Dab1a3sxE8k6BFQ8UU/Wn4ureAcdzywV3ffD4QhtE43qnuMwDV7hy1oI2XdcnjK5bxRlm2Jz8N5NxNsX+TCUG4HI7rYeH98Li/GT2L/59FfMhce3VzLAX2KcGHOOLimBQWkjrjEUl4YduhZL/0OBR58uyxavy5+yZyTaHSZ0gcAEh7ZbV2FnXbifIZy2c3P8vlJ2ZPtnjrZ2Cci2/t9EEXRrAQKdzTIjVCH2ONHL0H8nJxRYx3SzB7keLzJxpVxW//rAZbtamBL7Gb7Tq1sghsMDvHWLWw6AgRwRt7BaJXtrkW+y5BA1VtudaHPMH61LZxd+zbiYoczrFVe9RyOXfXZQ1GLgsN8xYEV1I07bhnE/ZUdDRJVjh6j0fJpV3J79g8IU2ObSBjRdNrn50l9qloL94U6qorCvYX3hF8tqu4wiEZedqPxuEntpK2e3BAMlr0vyqa6/Wn/3K42JLFl8Zar+Yv/HvXApLQMvljQhD5GPpO6r65R5SfV0QdB4D1OavKyJPTb1tjjrAgT4/USjxU6QHzCV0INf7ZMOi0jrHDKM78tb5Pt4y//8NTnTWTaAXH0pYIKfAd+tqzGmndXwCLpZWWgUI0SBzA8i7DZk+XXh/HOwANwJytb8EafjouLSPwMhuSig4deHLL9HWlE6HQ29Cwj1enD6BDorr8u15yHxoQWlFLgVCqJBQHyI7eGbLw2N957EWsCyjE+tDvm6bHezKHgO1VjSTu289+fsSKQxgAwRicYLYhQBxvi2D7ZytyujdaDyRBJANuuWy56CuWK5Y2qr1iBh3ptVuMompZVLj/oiW17QpajeqOdkdi/bh+I3Mq4+E5TTjMNgpCWFyFPoJJKz73Jqs+VShgY0XJFLmidy7MeRbzDr7BDV07Fevt5tdyn4SZQ1YZOtKJo1cnaFwNIUHD5wBI7FxnbTjHTLwgaruqo0i5RvWhgP5hdcaBbDYiWHwwYb7QodEkx127N37VCftv/bRJnszKx30DK1q2vjxn1poa8K+qe6jw5tgAL7hurtx7+gqiS+Xd4Iaf5RoDILPaWjbqXltVd3/TfHaljHFBQ0w9ewlhNfJgXFPhcmtb9dy1JoNuaPYrbs1hxfRYVkHgfXeJaB51Dun1pICPY4ifhvlx/VOgAeE2fe3Fx0aIJb+pqHIJyYc9e+nUsW4RcP70gJp/5UqBLPg1xhTi++ihcYx2yPn0p2fAelXYsDW1l8+T45pduFRCwlQgruFEKJZKQrSb5LgbApU8qPS5JHc1ZJ7y5HILmCNLogZIYpM6Zm8Dz7O/Hs7gFjmob0tXcUgffoVeB78LCNVnYAZ+8nmYc6ThzKlQuK25e1hwT6y/t1pnl47d8I1fVjKoSGjOvaJeaw7YYdNra9Ij69coMFjUfvto="/>
  <p:tag name="MEKKOXMLTAGS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cid7dQ+Kub8ulUpaRu+ZvkeQKYThSehVAux+2Z6ekEhlACpPBIDl4idFwS+LkSsnGMah1oiS2Cey6I95pkYD4uyMV++L5qaS6HjHU4AZ6+9wui4UzNplpY0bvJrs714EuhcgDYgGzGqj9yajVbcwBs7UeFO/5Uyh1UpcBC3Ws7GIJYePdtgVyaWeVu9GtAZCZX5qodTEyy6klZ1e5mXC1+Zl12GyoEu+cwIjARK1p2qfrjzwEBzwdgQh2xUSXgsmHNeQbXQER9MUQucVzYPVLUOABxi8aRBC3OoXgw/7aGrXYkqkpTiGwrSD17Grm/9SeCWUNy2Hgn1W93ZWNpVdL24b3poFj+sY9Rs4WcVvVJUUFjEMpPdYQplnrejQx+40WE1AK8OGSTr1olmGWWImoPxMcZlIXp+soH66vHtKKvaoMLdH9KFQ6EI0g1FcTBzngLUFF4pIGmLyx6GBi6/VwewEfIloIzu12CyW3Rgqv8i+KzeibqaxkKhTZdqrNQNsJzKCjYdJxEkBo9nGrBVN8aKJ5JpaVmvwG/esZXTME2hX2u54vQ0Tag9GpjLpLMdpiLgGit03wbNuNLmrkUbgWZ6ZGQynwlBEpAdLdVdWlCfbwz08xNffsCzkdL009f7zCpHbJmPDmgPnhnnazN+jjQnkUNJjBiIGZ5bcXHViqKMwSUJZwluMpqBJX2jkd+FqxUJycUN8pPa9odoAyaOQ/CmYZyQ9oKvEMFrmgeQTDGfpuTQ1o5Hp23rfmuDTOB3a0PonDB/bLOYDF95y8XHfVmr5ibMFiB0W+dl5pc8VnY45jepddCafuRkSV3FphKbgHaIYTNyfjSJspiaE32ADzhy0bORyRe1xFIRxowuGaIlvgPjuudOo8jzr51Jhr3rei+Wi7/wmm20DK4s96AtxXguqcuWfbuW10x+UeYubMIg/wMSgtf3qgC1kdNrPbqouD4wDd9r6gK8hmYer2vF8ihLLJBXuwoZmzrGrpXkWS0EsSjvXP6v485FMGcjTbuEcg91vAvYvJ1Itdc4MjLmDjR7+o8t/Pr9TtcJQfImz8ACNE11HrnxIhYoU681eU4txt9To53aN9ndbgirtsDjpSIlFTUE6+57v5AeOk6s59T2SfTELWgvBmCCykjMTDPUJaoavXZGgq9RNFvWpNkTo81w+pJVQdoY56lwhjAYAad6Cxb/VYQV8upIkIXCzc+wkr+QEC2GvyUvHv0uxp9+KeXgPxZu7MGrShAU/cAoMcCPS3uUFtmvb3Zr7l6dNm7iYHf6OkZWxX4rqT5s4EQ4GRwUL5uVMmrKY2xSMsoI8nQo4meqH1M65WNmvC6Eb7fiIBWk37dmgj2KOX3LMb95itHJFrFoYR2gvSpOnluRN7axJqBNDwVlJ9pw7raSBO5b5a2sF8CfysNkltJYkQ8+H+0OPKmnmRK6rd2mnmVx0d5MerJK67bOOIpeWfWQ+3M2+q6LOgsJ1TcMMWMglM+jsOaFPgt2KFvozq8eR01f4FWXXUqq7smHahglr/pDgF8OrlbDiKIVaL7+x3fiaOsX/hCrs0xpoqs9KJhtsLQ2rTRtVdYESgvAZEyl5qfvN1XatzwTk7v5okyfFwEWD6UkikyEJV3EDgYujVWyh89qYrc209vL575seyOCQHsUDh2xRWOT2nVBoJrppQTKegvEZKlK1L9KktRdFfWJYtG3tVIRszFIKYvOzq5PZOW8IfrzUGTt6WlD94fgliFboFakOpdqyjBumFAS6f1fafRwDnjLllk8sJ/udBp6sEt6E7+kz1aN6APCfHXSk17Yd5Emfb5yojGpZoszoMlyLB7J12NlMzEgaGpYYdzHMXmJ/YXVj4LOBlDdVPe0He6aybEWvtN7IIzSEciJGS9Eg3QlckyhbNWEWAbSHgGUUnJtFmu2WSe0C0LVTt4PufYBVstW0LHbkD9ZcxMhSzLoczQazi1bZUCXJdDc+U+jM3AWpF5+Jwn8DPkBFd0lv+/djBa+aAjaB/qdozTN80T5Nz2xe69GHnEumNNjv/SuoUwXL2hdVBjhqmVflMmM/H9f22ksNPCkAirx4TIA6p4BxoojVtrxsL0CMqQrZPUhjb0CgF2pmzpyYD6L0cgarUcWCkNk3i0cDZcd6OcnjhlV/PVe5aBDozJpaYKmgIfmJ7EzgWAnsbNmTHKiyEFyqhAfX0NUjOsa4UIfI8n2mEyQw0U7dvppZ5/HVwtlZpb5nTYSN/UG/nwGkLiJyQtrBZ4yJgb7lh6Rkiq7am9fMrA3+7P+wX2Yv2UzBDjtFAduFiNjOwmVcnRuBzKY+h/4Uq3bziNgY2iqr0dmpqMsC3ziDMnVX5hF3S39pf4XBgCvUwhvF7+LAmOAd1QdrsXqYoaXRRS1hTRTnKNEHDFYYShfCSboEdsty3j6+QAtXwZXgWRvfelzCoE+b23RY6trZD8+NqS1Q4e6+iAxWpsXtZhBX3/i8nwyf7cAcTfP/t7+Dj2D0anPmi6hUHVGfv/vy0zmFu3PtbIQZnCOARoyreW8/3FYmfjIDdaOsWedkwyKL7F+1Dc5fHwT1HjCL7eF7nrL+YREfRtTYVMjEww+iY6JIEMjqQlzj5uPO91fP7Xw9eFBtcFEyp+bUsWQ5UzCB2+iTvD1ZjKpF2H9YycHrLA8YRDcYtI47iJmQwahpja89kKN1/fN+x7KKFHs0PJVs3vcT67hKku/zeDQe0wCLXiTUwxAQbxgyojUBGKVx9gYdNFnr0UITAaYDxgwxcaN6EEYA5uBT2yhu8FnqIajnMhrrRvpjkYCbxfqNkGShGDKsh8pyeSwA0JVw5UTwyKvzdBRd/HLR8gK9WDRP8CgxlJQM5q9HZbm7d4osCnpSbTzvWWc23AIwFQV5GicRE2WEVeTlrDqyr5L8Pq0kR5HBYnWwdPM6l+HjHBPLtdogKXWD7PHAWHhDc4WgZe9BCRUhnsfNDHA/k/5T9iq30j51Z00dnK5ly8wykF1jq+bjM/0xPSGzwYsi9a6+b1RLa3KJQWnktW1jY9kdzTxfmcQ7V1Fen88Yl5kY+SwcwkQ8mSExzvfh0k9nbQl1qlIxdhh7bRSGml0cklB8Zn0C11L5RDJBtv7+EkMoSHkcrJ8bTVz9G2d1dnIAlAGaVZFF43bzRe7H4ixuRFGKyyEtVdWgttY5799eD3G/HRCtGiZUCVLnI3j5w5gp1uTPsBX1rZmnJsXDYUzYxscPcVPLCIsYA5JIH9fr2DbugcTMdmpaxi+PhdnPECFeEytqKMXJpGmIJf+d+Sx41forRmMwXDK5EHU/WJUp3fhVeSfuEvlC8y/joItN5i5+IwP+yFjbHyLw/S82g/oeWaa9Xw1KsJ3ibygrW8P3FFT8jTGblDXlVB6vsJ51kB47jcW+nJUzF28Yqvp9IMRxSHcFHRpA0TSSby6edkHgBr/pZ9OJ8J9uhf1PQUT+2609gmb9/ee6ff0IrJD7w6JG1xkT3hK6+Gd5HdJ1GfdNRVpWLWNl06agr+6uLVvehL+Xv2oKw4zGOlJNisg/kk3H8qeF+7M0qLrnn1uPu/NKJSXO4tFkZwrj+r0fOrKarL8mdb2vMOEs+myocYyMUESvOUdguLc4AEpyXm1JHEdIYhphULOXO53Xfd71vzec7cILHhjsZApv+JAgUK5AVhVLIgJ4mWHFpk6B10T/jRCN7Ufs5qNBoRL3tneWeTAvXykFrDnQBjbVMx15DqvoyRdZ0y5YyZbJ4TPpm4kDCNRT7tfc3GdaZQsc9JjXvMmUKc6TXdWLIjDMRYiWiTzDYshKz9Vep1Y652E4AHTY1SRD3nOqj9r0HF/nnbU5ExCMRe+zw/G1dp5j0BndB2QGsbBkuRkxbYy/RbuATehaXGnnOFDiRYm1S9WLhXCVtB6yYIUEBJhOn21C1NSNA28ZucZRgaYHsk8QKO1uQRP7o9oV4xjsdXr6Bs/xPvc3OIUKM57L4p2TFapX5ZuBMt0nc383ntUafwIEUX3PDfCCNItuJE/nOotqL+pyERVUqWoaTlqKf+IvB8lMx/8q1cHJHGci7iqKyzbdk1CYaoGQ39jx45Y2CuIRfHcSS5zcAQiyg3aenY0qex0+7fEOCG/otQ2M5RV6w4r+QLqs8hqGHHrURhOviaZF1jVZUAE5VP88YrHZIAMPTb4SBOppuYAij5uANY1sVjmu6KS2xY9qO9OOyrhARTt1tyiy2QjHglJj3CTjd7eLlkBWrJbbEDEeRIn2ujLFgPzNuakwLdazbCD+4UXbPhBQePIpdq9Y4brTzS7RSmzqU/Zg2p8L2a0xm0VA5py2FOotXzg2f8MjB8qkgybsilbNsVt7hMHROZZoTg+LZxXUSLhsSsF3kTyv2JaAMsfs44RZwmNumIOYwOXfSV2cwBUrLAatQgjv/a+utzot9EvkxzfzwGbM8bRtqwGmwqN2YBKTzMqVFp3kg1h7Aq2npntxnJGXFLLwSry9Xciv0EGkhQvYQGfxMq5iU1zAhbiIbSLnS/KiVgoOdVtyvlXHJVI1WZ1GWP2rn3oikQRwwYoMfDU/jH2oscyXnTLRodo3vJ29lxSbzL4F4a6o12COHyfNN6xgk13ljF5gYuMa4QxjIPkJL9X95+wh224T+f54dJ+PSUU4wSHbf7tJBk/i06zQlzY7Zzg5NvvdqJGCjyTYMM1+KZPKA8ax/PVELZjUaa5u4fTJmXR0wR/KLSwLkMnE8dKzH8gmGWSHfJ3r3uXiquXgjGP0Q9p3Fb/o75RW9xBrWGTCZz2Rm084A2E6SOE2X1G9KsMlZD92BzXGTKxlkW3eINpXMCFOiXEqKs92Vib1/Vrm2rKZYaUY4TWOH5gekw1IstcLFUR6PSOyu2onk3RYD0hO/tlAI5vUkOxx5U7i8QsOKAaEJocyuZ7NXQjN2RE2CjOM6gq7zQ/896+z2I9wXo3qcH1FsZ2pHumyPMHk2t51B+fSw5eEE/t1hcPGBWzQ/jnojnK027zTeFoJLQ5jFYZhsiotjQxFXh/q7dKWNCb4d+fchaWo7INZDROie41JN800H4dEPH1kQiR1ol8LHYx0f++zKP+6h3DmRVctmczYHnSeln8UReLUzCDscJUyjS0xkBR1IyklAIoGR9rPXxfusmBDB+r75ubH+y5t1xYV6qtMTun6ghpND63GIwtKC5uirGHqtesUhTqD/SPasWeKvKdp2uYIjNLklY0WaL0yBTQCtIwSrVNCa681QunSYOwlYjaSJ6axrG1Z0kZa/6PvAQX/1s9nQjQyY/4ieyTQwnhAHD4TWZ15438dxA6BahF924vGKWQTdCH5Z+p03Epp0hqsHEi1ASZlQosQMGylHbsbahCmvEhhK4K0sZvFODQkzAcBbxTe4r723LbLWIxRd4GnJjUrWW5k2hkGQRyyDdslQCf6lhViRUy/VoM/OSUhcRZHWQRzGN6zu4jTLnYe33Z5QCjLPs8VFzLpPtLtJvr8+SBWzd9o2T/YPBqIklQ6AnV7YTfX5aPiMs/WKktITkFHRIVxwCCyFmSIrs2cL4j5HK0NWAQzg+05B1IGLWFXo4DvhZ3ggRcwp2TpjiP1oEKiaju5S2tKTGA/AyS1tAzIY79jCvI3xnTiyJtRZ3x2UaooCx1WGH1whB9lbJzUPuq9aXh7Ow8W55pdLLE+LQXxBp8+0BlK4koq418Lfv+qVYpEU0YEd1PJwFFsv0XK7iBBlfsYS03v+jRmRoLHPJvxo16PNJfBRbTboE+jjM+2tGGC3KtrhiFOvhKQOqfRDnEqInwyZTw7cSDcnkmMY60WLGJY+KdafZvgEmnuYmyXkTj1p8KAGSQHZ6GtieS79h66VWwAkpUEdTqKXLfDx1vPV3omjN4tGy6YcxfgIGrc+/I3zBYDrHz5STJvwEuekye3TOHNzTicC4yRj0CX39BDhx/B/5ffk2eN+KREBYhNECZsK6gIz3enneHeyQdNMjiPdVritD4JLMpzhetddDae1BggxCZqYUL3uL+DWRHvRWacIX+sLeA5enoOX0xk6geT24D9NA6XBE9g+SW4iGJtxveeiTMY51c+D4XQrvUm25ky4hwVO3MlcgOpAys7/j18a2jAVGmmygHq8a7zsdof3uE8joD5j8qaC06Ue7fj5TEBb4+x015niSXMtAZWBUj8njoSJnEY8pdfODa7p+eDUPN6CeuAZ2kmxthttfbS0gYmUjBRr99TbiDkNTvQRZaRrcoYmtRfoqkpEuFmtbKYNgdU+QgGeCGWeXtkRZ+I6V1BJGXTatRugbNvOXI3JX4u9NvPCHdXLCrXZHCZ5lL98VVIkzKuvwZmeF8MvUWbeI930+34B+MdO9W3qRX4DyimRSTHdLulecsL/ZiMhawn7aOBaSCAh+PAuVKspJdbQTPK6QZtxiKhMoLHiamlV6ES8wLuMnnvPFm6ex87n1u8x0PwjSaJYQbUMQklIPpe/XaHakhleLAnor/V6tqlb9I7GNtIjnNdl4Hj13WaZj74GKkMecOTOxajhKhkjFJZzllyIuQg47AysYmWg33G6QaolWbpLchmQTe1NdVyyaJJSUncFsYAunc03LVsyrDb8Jz3wc8GZRfraI45/ykCXe7SNkFk46pRHNxceAJAcDKPMyUjie0uR+MoPzsWVlfkyQDx40XO4OTSxwihoyMLIwCBblv70nYHnXplf4hZjJq3c+YTyfjdvW7xfj7SjswHAH48njy/ltv92Q1t7kvUXwYl1KeaYQIRDxhSMrxB/CiJOpYib5xUklQel7jOzY4o6mwhVCHYnS+IOtkVkxrUyzYJoa+6ZI6amcoIKf/E+m/Es8lHqLQmQmbrCHH4ZhHvUdbzWs66xUIbBROJiuag+s8SKW0FfMTcmPtj8twj/o4cdJVaFFOxL28PxOpGPT7slqDBWFEchHGU61jaN3GDT8zcJfHQ0rYPD1HJIt1pYHM0OPhVHaUCVVqXE5ve/i7q2dTExcFOuvD8PAaWHZt1E12KwsbEBzlc+5HnidXhI5EHFTGgdtJDnnWLuEpaoqhdZzMmZIV+JyXuLYDetw671nUHZIY9bx5bd07pPoMROjlzA5tIOHDeJbs2MvFvTMkPxInRUQUQA5MF7Tsy1tnzCF+dXJlJN30GXxAgMsHB5gMYPX3Qs4F1YGxc6GNVKHKiNmPZQdr13wnCzh69UDR99sbTzx8QluIJHhTTr63qHiZHAHixjA7H6/L5wB6/TIYU7Ghv9U26qWiFGPulG65Hn2vBY4ESxC2uP6+geuWkeNk7lR2oiTAg6ONUfaEwhgY+W50U3o69Oa+9+wwu82ft+5Ff7rveBq0VuN0SZY06axUsHmnZeSA3VSyPD4HRFfMg4GpX81zrWl99Nh6SED+8vqpA7ckBigVfIRFSRkIuRTzG1P7uRNi1/IgvzNyY8comAh9i6a1Fhco4O/RK5P0JR1iKzo4toPrejxNq8WeILGZzduOS+hDs3SyJfiMo6kuma/IUys5GaCjUPBZC0zrDXP0EmGjX2nBuEIirJuJL5JhvP79gDWE4xipRKay2KuWefQxZyaSIAhd3t9xK9VzQ/t9PDc/i0Hck2rgi1RNrD9zAXUuVMdDO1GDhD1whiNOLqRIrPVwBkDEG7oqGY7fKFDOHO28Tv0Xq4hN6RBQpCdLEpClMN3FP3rAchLhyBMP2dSovcz3OD9j0vehRkkTWy2GJTttayhS92qkcpN2fcLQppQCCjS5mz+XQR2yDBJPbc4FtIg5A60oEySu0L9Q0Oof17xlzf7PhJhGlawCPyYp8oG9c0ACmfHYbYvYkKrzG4WdlWD9NIm3DnfLiffoH/h36PLKrURL54uSn6AGZvl012zK+5nPFewngTNPLbseqwcACoViorf9T80Ji3131rYhqmIuOZ556VKdAN2Ufe6Jti+b3ZLTPNyYrMMdziN1eUL2GuVRNO6xVlxLvtvuftT9+fcdzTmYie5iXPIVg+5eBstP0zEFU3PZFudBZ/f+X+EvDm5aK63jzj/XCNNl0zFw5XulcE7F88zcWZAFPt8bnHMGChu8HL1HCvDKujQgVckuxtxZbOMwsI9So4ZwXlR0Ece/PEHp0ltin/a5zz1X4e0Py9GVA16+K8ZVCbduDFsiKl6gikgQxk2/NyF2VOYwe7/ob0C/j+dYwRuyIDS4B5PsAajjZR7IBk3JZIV7tuveqVgW7j7ZMIWN1vYjlaWcvuKR066KrTREUWF8U3nw+6AniJtOqWLZlhisQ3CNaAeEVm+vc0A+g9YOdvnocy4bL/z4LAY7oi01T4aCSM9bbhrMhqVANHE1L+YQz+uQMQNPK2ugTGUYqJE1jazxM+EOzJd137ORWEMDEHMkNBa6bOrHjsKRt3oUml6bT30fR6vRHeFUO+3YMFP610QzLEl9iosrZqpGRlvUEU9qQyDGoG+t2pb/Jc+MJQx/otdBIfKyM9Q6aYqfI0Jy/d8eK5bed14tLM9kGQGxyufNOCoGqIZ0Z2Xg1J79K6dVE+u+1FSEYffgLr18CoKPMPGDZv2k/iO6NtnY3FuJqMocSRgEGkTkBl+Y2FaHlaPZQczPbi4IopC0y+rTj7u7fRaIWBB+I+2aEvppdZEZvPTblUPhF+BnyxEdL63Yl3VVEaecpsTWxLzwVRWh+F4B0Wx4vXHaRdW8MuZMO5SzSg3Yhx9DqBkeLTMQ6oA+xAXc2XW273gjZfg4aa8D/zvkZ29i53xrnbsP+UkG1xVZIkSy8N1RoRZPceK9mmBgsO9v42ttypWJab7UlEXDcxK0we82y36OsgqFmdNZ8C4m/OCa+p6o+8oo7T+8dE+817CyE3K+kdVhOF09h7cTsoaAxA9sVbHBPU/9p/Ufoh/CHfU6R8ayOF52uPBmJldA9tsF+u2fS4OzZDl74z51kj9b+FZe4Mtl4zPjWqYuOdan+w29sKkPk9fivBp2CAlKE0Se/1fbQmAC7YRIeu9VGmJQGBuifb88IUTXuZRFWDRbhRit1C8YVtpZJjuhh6PnxWw3+iTm+HqzEw0my5NjEE30OfglYfutcVWYwXkcdRj2+tR5wMCVZbqJhVF+fSoAogl1tr3tfe9TnT8CTb+7XFJcNwlIEf1NmxoEjQvVRJlAsyTIz94vKh9ywwzKgRge0mscS8d70NcqZonWAQyWxTDyqIQHGRFctxrfaZwRdG4RNfEVV6kpwli5JO1Ld4aIy3Cd2WljUtXJTXbxHQwxi5zT18/FqFg1kDTULg0fM35j0wtwOBcw/+Che5sjnERvTMvhtMRwkace2uwom2E0go3GJIqcx2q1npkDWlrkZDcgCtQx17FS2EXbkzWQbmrg8z1hXlwP+EsVZ4JHeUIrw7bLUAUvMoUwBZ/jL0Tv0i5IrFRHE2pdNFf6jMvZFLchEEYHKIb3irCC+s/CU5yJHp6ZVe31fdLsWjapVFvmS0NrftmYH7RgVeWjDgU+LJnysqBndP4g06Q9lSQO89wUqRxVWt5/aVpYaVkn+kn0cI8bjLxfUqTTsmzjXsZP5+gvEAHH+Q9x4EyT0258A11Zlvk5sf27VvK/kiOOh0SWoCt0104bRjXVaROLZbtmJz9EJWGWSXRQHz4pKRjgHjxQVE3Qkz6e94pe96EzGTYMzzMum6BFrWDNwnKlXPVPQYCNYTqdZvcBxGYO3MiSYRVI9DTpkCvBwR9RvFcqMlsmbWCEmHMQN6xEbi3+FiYG/+VJs9MPY6c5yL4ayZ1za6nX9dIXQUyGhAmJZsNzgcGhUAQE8xQUKdRAUBIjmr0XEvC3SAh5AcKDh8y9I9hkwHQ4Snmd/Frx216vCv8tZ99AAkzV6623AGolCzDqRBi3M64CiT9VTqMamZaNlg1M7pmQru4u1XskwufOZCzWIN3ft1lsn7hFANDE1zYDrTeGk3gSULiNPE/mns/8WB9LMo3gZRvqadZGhDdgxc95Bicsk13MLDM6Sw5/eM5vXlN90MeHexZBM4eP7hUMc0jyyfHpxOzWfZk3oxf7myD89RODrlM60vLeazujJLYWtN/2Tp++rx5im+c/E/NgMiQJBPrpXuM1uOVwyVmchtbT7rU3Zne5yIdqkHWr7K4kQ54NqQpz/MnvXCGNgbXcfNn1XZX0242fyE7TaHNQV9ui0rOyLgFR4M7PU0BkZrwW3ATJjjTt2uwRcwMW+jEWHCg6HelUu4UYHtNK/HVE4OJEobdKCTmAQnWQcFkCUnEQLD0vpUUH3DJfENm19SaO92IgmbcFQQm0xSTMjHdFk54W3GwIKUjYI8DM5MzJYbn08xoQ/E71NNce0ya4m7/glr+9rgixvFI5s0fCTExZFpc02DLCT2WDYmJwF0j0YuzbaYR+zfZVU4G27wbHNiXgM/Byr0WMSFL0mYjme5xvZ62Wn/V73WtwHH5fJ8HrJR7oL7+8IZXcUrE3nXzEq/zQltqrXT6Ekd/hksu0kZK8jYbrJG/6HXlbPnecF3ZV+0DzvTBMoylZq1lO/HYpA3LZzHTXc6/fUlc0TCasNHayJdr+tIfbtSsd+Ziax3eNGZVfpVKzSSrGL4VAwH7jLIjLiOi13bZA974twRgvrjA4+cN9Z/hVr5yXs2iIFyfLkoI/RFbNvselmSHYodScWZZ5iZWEvy7D/BHS32UTCF7iqJCxlZqoZHNydkTvJw/zQTnaOxL747l0Gg3gv8XdFMNO7jbtwxKB6GLhgteJ0MEI0jIK8ybpDpjyBARE6Wmp4vZDHrDZDgHDuDx8w5dHqOLRez1E16ljy1ntaZtKAr/YHA1gj7ugpsGLHzuNPoWz19CoUxGl47GsTm4cRe9SRfldgyBv4y76rQpbJB3R/EoxHH4EFfjozaqpJfYlmD4SLMvooSJp0MR46KoOenAYH8WVLmfU2PrfHf1ogTFFps0aCFar94VtvUDVFR7syWVyWTPASbsteYAXkMWEaTTD1gNCOl+890v8i5Ab7bVjbCGaSkifLIKE3zYedG+efAL8HxVcwOBcrfgx0/EOo1JZFRguGQr3MYz34auXufW4Hc+0FkzjWFvmioysLMkC6Y31Jq3iJnM6JcHkCZNoM2dFoxMZL6MEKGHU47m5gdnPxj6c/eWX+FSpL1cmKuXFAOUjcw5cA9+ha8gC2pOepPF5VoAme19ohTZrQZRFgaiJBGd2TNacvUw/bJkqeXwhiMeW/HERq1+8d2VBYN4YWgjNdbINVO6RjQxnSweilL+K9JG2bZxX+hZZyGDJ4AjQAx731SauRqb9U9f3dQ/PVNMlihsUAfRhRgGTgtgkzPwu+sjwVmmaGC1VLNjWWvd3lybPtHit8BjQNXw7zm2uhuQwmaEZLIu1OzhlfcCGEWiajHjQlUUs9fvYb6pGz1SF0FxJ5ZxaA68OawEeKVwi709LVfXBIV3FvEQrhVsIayUCCgL4Nay97A8YlNTExdiLXCZnUSrZF2TjVgQ7WwEcEXtz9nfttG4wsBEEGAMh9Yl0LTv/Oc+EHdzQTeXL6IlEUKV8pAv+xkXoDHyEOGsW6xKdbZqZOkvUOPiaok7g5lQEDj0yYLTApyOt5V0bceNsIOHhKQz1VPXMgfldSWixFVFmSLWoO5lZHKXuJJXVRQ+HeY77g1/mfoaOVir8FEURXVMOkukywKi5Zgue+134G/dFtbYsOcEnRAYxJtRr69y2gY3LeRUFsbDopPEBtI80VJH4wpLwcXvS31IhOCU20OPuS6JBfetdGgX4RPWDGCQJth77zZ63ABy2AqYYXErpseSsA4dnaAGjxTpbghKdM/CL+nSUAL3vsgtj1kgQtN14sK7i/o0tynR56fq6+xERbVcwaZae4aSGN/M4o11lqtacm51kN84G6y51tDBnFsTDwCDwguwn/dxfmwGpP8VlaYSg/j6b86DClUXvyWl/I465kpwFtY5kkbR++d4VtwECS7oOpCDdRsHT8zmrm4ndNzL+VEvdHP0iLD7iyX66aTqLtlkSgduRT8+5+07R6McBmA3WX3GkkdL99JJvMqjKPEOkxDxNJeQuz4KszGGKrkfPj91zM8S6G+006BZsB/jjNcf+d6IXOzDprIjXfPWeaG532omB5b1tXqi1G87PU+0yU36jTx5XsXrQs1qOVR4IzO6861EaFkfIqksyLSWQKSxjS6IUIo3kOYyqyv88QeFtuFSDbogEpumiVX8dB9a22bMU3Vmv1I81+bWn/B9EqZgQ3vG54OXJ1vjodmGmP6iyhqoje1d5rpkn7IZOVa/+qNtxiZeroYIewhb2BgHMYyST2261bjfc6tKELYpcaOyn9jTPOgj+EyYKX8X+CR9DJFo//9cv/+3wRzdOBDw1bgctvzZ+JpnvpviFyTL9+lk6CSoAjchrehT+wt3tzhpQ9kjczuSMPNdJfQhJPcaGkGR6fn72uP6lEq4jd6LuSkLiSMG3FM0rgc7Hd7DIBOkZa6k5jUmvxCVOsXTLqYakYVmrtTs2XzczJS7f6W+XBg4d5p7UkV1vlkuVm7TCLd0dIzNNi1ZjcCmIUNplHH/DgqnnGv/RPEfLBO5MG6i43kH9KKFzDg7Idl9hn/f6NVNbTSB7lZUwUYTiccbOT7Mm9eoxt5MIhic38IlwJyBzH1UYHSiduAQQwgxLYvBl/lmgbFaP10TdA2+6RhCzF/qGB04d48pU6jM+td8+hAzs+Ov15p4Tr2GU83A8i5WduxRmI1R0mhodWHqCbwZ9btLo+zVuc/jXPWjLnKyHG70Dspnau5QLJdq3XMuRfHhKH+MGL/j5UkKxLRdTUhRxGeldOrwWfdzbp7bvEbFrT9+MqBdvrT7uZYbQ5kVaRaQppThzS3bNqL3+aheqVwfXSnuU1D5UAWl6J6SOUvsfC/irXBsjPai4h8U1fjUGiDIefPfSbLNvLuB5ImVlJX3gg/j3kUAQpnfZB0gVBFoBxwr8KwpBCpY2dt3iPGjsPPp060aVSGW9fd7Q5lWj2Dky1Ep4BOPiZYEmEYTcjg4HZba2UMxDuh5CX7bYXh/RRWQHncpfq0WUTkyZ/7WW5dtoJ0yyyhfpyadToEhI0VTZpI/RIkQqb+XbcOdxYh4Z/OXf+h12+z+AOt+sD1FEqOdZIyVCp3KP/+W2Fg6rW+/gkQAMPkBHfbRoeQAqtlv/zcrDOZOttjSvDoqZpkvnUNiAY6hohCZUCIRusubpnbFqWmfMnPnxBs2PODPmwyfiHPwUhlUkyHyMqj6IMgOLF+3E0GunMKOBVe9q0Yars3F13VJBsqpSBFWYQKryDVr6CNi6kyIlfJOuhD777ZSslC2KujlI/+uq4wBMSFdwGFMG3VJjCQ1HAXMpVpOGSXk0wk7Nx20BKx9FWaLAunI+fE641QvI06N62uhnJ1omlegtF4p+hyn6Ms927FtTLIU46Fz92MW4TjtsNZh2ASoiurtcwq/u2JU1iFRfsZRQcVW7VOrPry4VNYiFPlGvFB5GWmJWIHhfNlqmpviws/6dNfXDr0kvxZB95GSjRV7IKVGPfk3mGQQklsHB26AT5NOxGuFF8zjq+lA3TzcKCTAukyob92to0lN/sQ8VTHvVr74tG6SJVurHc42SXJPEgUVWi8sgrT8bEdIhNoizl/RVYvgo6N1zkjzYijzyXIdEF9VEoHIB3i686QiLzNDigdWMOKrDewZhvkQsAMC76SXloqJpVmfZEpwrbvoyq7nPWUmtWP9yoJLT9YeHYDkcCyENhobVPmoJOeO3o1vSlJFOI6PRfv9PNfpaaU93Irc/AnWX5PynPEHyyHVWTMbkhAc/T5GQmAWY/Ee+DIooseedUQA4ntmPDTi2KkIoMqBLakwfWlK+/LaMPRPnlawI5kgB+8JtRaKTYoUuGkJwsqjR5NH6nWgFGRRLhWnf9WvZ7zBL7dvzXerz9Rhv3GjQR0uTrSe3L8if5qs+fGX6diDFfsQVfzrCEM/7SnkX42S5HeR4p8ci2e0N9yP4maHrDTEfzplUsie/onYN+3LoqBOf5FeNWuBlQpBTS8Km2Rd7Vmxk+4cC4YY5IgDEccByjpP1LtUY+H52ji7bgP3Uu//Xygo4O5kHgXiG2V5D1epoD5dy5Qpiuce4WZT6yyZZynBC+omVmFZewLvMyniprQMnQvDPtfgkUXsnv4aqPv/fqnFqqK+Z3d0Ewg/KA0hCFpaQEuszJ9zQCVyqJ2P14uMo4f6tD9Ijij9mCkPHHz45nXl60OfbEfS+pEgEkC/JFWiBksd8E01Na+gSMqy5QjzCGsrIGlId6Xj5NEtuRailxnE3YUpPHYYua2+A5j2ujZUMD0xurKBEH62LaLapHLm0XCQKlbWJtbE5zSnlZ72rCMqb/a6I0D76X4Pa7pHO+x5CttLqL03ins+AMO7r+QPwXk+clcuA6ve6MydGTg4oy400bLrhRy6a9BtMejvDFsuXQLRB/hhkHxrPXDgdmzPUEBWCYwHbqf74BR/pc5EXbC6iO4AX9Ckj0/UoAHcnU8qsZmxmhoFJ6dC7ZsSUHUkoppUqpJYCkft+KIQ/zOqfPTq0pee0D1UsK17ZcMIue9Jcseik/s6x8kRMzuBge8Pmw6wUxkGshPpAwa7Uuv18qHG0cpZ9NknB9bqNud9nNiZIz3rGt5TOwKfBGzcXmQLXmrFBjl8E/7H+YFLA+ajehxuLDKQMVeks4vllVLrw2i71O0NW4inMthURayYKmuaUVAhSrSfmBWQQBpSnOowL83QNODHGp4p/oaVoRJy+IHKj6Bhgs94R/yBKWNsT7AFVWmi9c+NVnRae7NnNdCIlJidj64y9Eacw5lCWCcMTTvHBXLuzbU/WR/J0t4rxkwEdGuLBE/2o5AkJzrUwdy79hLyQudzhKS4ijTFcz+eZbPqnvzqspJXsjHiMndbSR8tLAhXaRdqaVS+wWmIWgNuNzMAhdG3fu8yUKH5R7a5X8yUe+Wkb4+CtU4qivj5AsZZeLugPd1rmF7Ui5/91tpXoxHBktAbTrzubL+EW+FatmyWHGNA38xSZqxWjYFXoUeoom3I0ZEw/EJ/xqLckmiv08Ro8hol2msTPm47ml/kwFeXP1A9x2s1iyyTNenXsqzcRjHn//ZZdnF+6/CTFcj0zBoxeVN6K4iua74cHSYpZPCUnRlLGqrVVJL2K6ihN8UG/Zlc3w/ed6C43HvrUhFs7eH5AzxnuHtW/hB7MZGD0OjfUX+km3F+U3YAIwFf2OAPaGKvy5xF2k/s1QiGEgV6mwZs1+3cbAnYzVHJMnbmCvLlEVeJOm43g/Qm8JqWR99ZUNpSyXyc6ioI5oGfO+Fqf8zytmfSeDqEHCqf3gkSGTNyyu3/Wq2VjvbsxX/uZbirfvosctqbJsgYU213SFOhUSXg1afH8LHungCd35qyNthw1YnsA9lspZI5UlVaq33PpEMcFyUjCQt0qDfIVEnMo+4F4XjO5ZtAXUJMfgiM+JMqmu/VjQAXzQfiO1q89UArHp/hELeAaxIoZHo9nlvjXITmCTEeEwyvzZ9zAzWd8KBy4DZnMSYrSW6VBsRJfI3HtFxsgPMtgQbzepCT0dFEp8tCPqZ/xgox/dQTRUcdMAECSjifo16+inv6gWYiFfyMkCzZycBcTVhuxEN6SqERzp7U1e4vqn63gaDIc1gSjrA6DJ9jH8wF/4h1cUwjgY/kg8I/L9UZDk0ByMNHBkFgdfTdsPgxmqihU5+uhcDKYJFdBfdlGa9TbIkQBeZ999irDzCF7Ll2osndG2ycyq81hAN1RgOu+uPPYw18wpUA6kLkVBeMOS8u7cvTSFqF+EifVs4/g89TiM+DKzBOcmjwDCc3m9phYOyhvcyBxjSoIq2WWXLRsFWWrp85uXpUhFUK2r3nCuaw2sg6hWt6m2gBP4Mr9cIXvWnzLJJCV3pI0dmjMAUAytIVQSFDo2DMiBsWcSDc2Q0x+QUzvkria4E6PnhOAJTQFywz5Q7nOo2vdfjrXTUP3dsaco6Y2phNs1FO45/Rq3bMLhCtUtSGYrJZwtYKs9VwVHgVMGCrkpP2pl0P5li5TeVaXX1yCeNank20Ias4j5oq+ShKU5ZuGRa1km+qmFhVwex/8bpQI6/bLcfqQAY5l7H5zOpuh88mpwb3vohO7Lkr+bye0RXr5r1IcCt7U+xD/PeYVq1nZI1sIQVAS6Gf7WkkH1X10BaXL8KCIOXp28WZSXVOMWGRK5ocss9p6AiANLCz9lBWQxBkWhEH2vmpInFTTa2GrZsnXRIxS6MqpehFMvpQZ+xeUnvEJG66JZ2dmA+C5gknaO9TlScj/lBp12ulsaT6ryQq8BW4pw8eHh3etty/R5+3zxZqIaLI2Wxxc01RbikwCLsNW/72yMuhySFeME72+RtTyWMyfsummMEgNk748k37pSkXifCka79VVG7e0l0V1vvDj51zr6SeEyeJJwzzIpU9YRZ6dIs0GL4zCrc6xMpj/nnb1V54Dsgk3JxjMEBkkF11gTK1AKrYFVEi+aQ9FdJZL+3cHyvAFLlVJ/Ed3chwloXVlCbnLFhuTJCtogcmOpROkR9XrKn4O9Gq9nFthoIH30jYS6F/vYgRUFK1przIrmGVvvilbS4YoULzUHUChu42z9M8cJ/CmvREO6PuiBmLoayGnJVdOs3kARW5zAqJweMXDlFVWEbsNfEZHJ08qTbJNPPlLtq0ocIyajwJxIRbvElywxF/yscSyxbqML7COR+n6jQjXw4jHQRXMA344nlumcEFu9pA1fSyeigYjUDnzveAhLh/f1YTtAP1ouwj2wpf4oBWpIKVQQkOVa/3yOBztrzQLKSffr3eU35ddr2/pSRdsAOQm7+1PcuJH2sN1qgBge4OKpBPKHVyIXaR5n0oCgRIaaXVaM7y17bIrDsWAb2e/Ls87NZbbLk7jiqxEApJorG7rzTiLePY7aGFbuz0PybAumu+Z7BzptSUsPUIRIk5C6GpF4yT8EKmuiGkEEqmCTQ0egh5cxkdFLAyurznCfCqMvJsGrqPJq/+hv+v8iX9mdRfXI/t08aDgBVcmF7iDro7w2hH+GpcILf4iCk1OYTrB6cENY7w8Svm1PLgXQJ/djM1oM5ihxSA7WT0vAp2xH74rGw0U0Tf3koX49ozKzF4S4+cY+CSUhbOorPDYQ+EQr8nRpNrrfs2d7zqIgWUCDNXjYt8a7C0raz0Y3GFmh8xAvV5ISIl9scmmsLoIUTBr5q2wbEVYveNeIQIPuCLezubv/KS5CazFG+VKBcv8eOTuyH7DRb9/jD+1o3wWEyUg+02nvetv4grxIGRRvxo0uyl5y7jlwX0CevwMzTe7C7LgatDGp8OuI9Tl1s7ivwhV76QnjH6FLg6khhoHxeOS+rghG7E3OwjX4Nrd/mvvRqC7F0xE1+9XFUqxfoWvwt2/SyUTs04CV38fcwtxHR58VfEgXxrH94PRcncCYl6opCy+0D70kYaySNErN3GMB4IR6LOycL3bylrpIgFKd1kVCHaMik9GpN0V9Dyg4NSm9weFdd9hO3CsMsp1wk49912Y9Hw7Mf30BTOiOTxxdTfttLipL0AGIbiQOrDYcL584vVqE1+Pz40VXeRK/4aTiwhMz6CtcTGX2GXSyaw3jmqUVUMqcB0yT6ZWnT2YNJJGedT8iVI4gmHL7uI98GA/2F5kOiGIaMzSf+DplfgTpNU8uvjc8c+06pvSUqlNkf1iCBW1KaMg3arSUh0YxRUIbo1gZT/FOEYd1ZXaNNo0BpfMj0EPZB05nhppHprNh9BIBng3ISDg9Z6Heem1f/cirLQzMB/mfptaerQjXP3l6dTZQnhNy5rXKZxW/GSYO/PU2phOuMmx7EpQEfJYZekvA/ax/20HCbWKWyo+MSrsEAWzUjzCmLCQbrqccstCDY1SQPZQl2SJJ90LhgY4ZT9CsBoeFUh68J2PCPQeWZC5biUad9S0qlHV84ekCyITsg1RdzNJfmi7lVmts/ukj8SZmVi7fmo3ECKcmgdB3E0Pcg6XzDns/7c/uQSmG2+/FzJ4+052tXGxxaEPo+n0fdEMA7Gu8gWeXHphyWSaz+FKeX42jFdyctJSdtkdZAzlNRE0QxWnWidnRhbvbyA5WMw06SYLQPZkLW8DifIRWmvE+1kjB1+7fI8wKoaI9fBdQOhHz2Gx81gtM+UzCozLX0L2eqbkjxSosNIufVw6467x92/MlpXXPHYRqWFH/MniwfH/Nce4AKwx37ZCNamC5DMdr5v9cBhf6zDK1wkiBUAdGuC7baMdZQz3XL3ImhJK7QdeVq/xhIDnvCxBBnSsE5Ri5D1ugGKy2+4uyM1aHJBdgIFdJYZ7EOV+6R/WLcJ/1quc3LoWtZK4T/n84f10UZ5XuXsw9bsmhXWn/HBdEffCBxgHJn01maQFHGMC8spDVr/5UM4x/dW4LMer84zY9+PVwg1aOlR3Aux3RJEHYZcYjxyv+VT2q0tMqtt6/Fa0/2ApDDByfV3EJWQ5YTvd3SCG5pq8jCeFW2IDC7WmgYz5AxB+XncbL2JXZZP63p7HQp7B+qB3WlDMnhjih4vhD2H7RVQ51WAVpzkx/2GZC/vdfzYuRJDMSa7hD4mgSKdkibIZIRzqt5vLm6yn+aMwDPmkpBtmSWLUlo4jZrC60v+7vhfBrT6vwOYS42IC678w6UpC+CtJ6HgJFGSWkgs2iKgvs71UdLIDWkbtZHlDjfzCvoocrzHUDgfkK7lwMcvG5EaSXgt+a4mX35D3ngqc/fpHPHDAPIX2daWNtwlrUWo5+79nzJtXhVn3XEQF8qpbtvKSn2CDxCW5e0YRBRb9DXGeXMNwQsbNgvUKBdLY9736jx1eJ9tl3qY1CXaSby1NZBCAWSok7uiMlYsFeJHbIwIyBKjvM79Kfz3Og+SeoYwzzZyCH4O/5goslFuiCP5sPbmMmLKwhNUyi9/5mdv9qIkQqhujd2fd94d3YFUtaq7nUsALFG+euH/LbuJxkKxhILCJF9yxZ/jJhG9+67QHeYSFiRBGY/sZEuh/B8fNaZjlO3+RHzxqsncn0E4/VB0eHhDj8hMDugJafne278hgjp5Pz6b7vp19x4Y+s+0XDP6W2pw2DBaiInZRfCdZ6O57ZuIFp2px+gimQQ0W+OixZ/CSKaIZcgiSzSbDCAogzfcY67Zk5hcVxibVrVtfy5gmizbbA1djonSpT5viR8FiHSqePq3Mx6wmJUWDtDT+dDVsGpWLUkRNsTMamuOhajjVvT64P0NFa04GWnNikuhLVzT3cz83Zanidv8YUUbZSp0Qg+IKwZNMNknAOk1JC7W9M4UE39LzSeYpQCQveGFYvMoT09zwx5PDdkOzY4Y/ad0VVYFx9KvnmkS5z6FgsaLRUkxZJdmeFP8Br/eX3GQorCNPfUC9pb4YJg2wRTIMwHYpPx7q4rz6HKdS0RyqudIM8kUk6QevzF5rRBJC5NCX08TpECWYcnvxysQpRi04QO+XfoBkB/ydI5R1WhJmhnFCJGHCYx6hk0/IdyBScIAfMKZlEYMN4y7nbU1YbeOQjrpVt2dzdErrGb2959Lagqt1u5hO6cSdE5c3tH+9UamuQgLjDW4sRZnHyGTa9iVKkteGy6E8ApaFBCv9XJV5DR1jQFbrDYU4u3bw3gl1kDaMxMqvBkxS++NDQ3Es88hlFUkv8t5FDId0AR2WVIhgy7YSHT85mVtnh9BC2xN2vsZxFRX6Ttu0V4Xa3oeYvGW+0HJy3AXaGTcw25LtBJoknhQrERQ+T6Qv7nCSWe2U4z9mSDbJi+9ahBURYK1Cz11tOkTuBRPSgkKrPovEIdHOMG4kZYXqDXSLeVA71K4uGAp6VTFeI84ZEc/eWHCKJF3sH4uf+l5e5YWqpIyCG6aV/wtCfJsneaiZnglGyiOv2R2hBLg8NiWIks23MVuHi5LxHzBLg2VeCVKX+LI6yxJ0Bi6Lpvu4LXnPLZwCY8u1jwHkIxG60Tor9XSQD/FASbGqwiJy7jg3f6To3UVYlRGmPKE9ZjTLxeLFmkILERi9SWovOdASyHzH+YEqvU6/2dzHZRTJ0iDjxGqS1dOTkr3eKpMkQXySLU3YISgwrIBYlMbC94ZnSNz+RPDsFR5FtSbxY44i661cfeU6s+1Q16qDqeoj6k4cHgpUU4rg3AG7EFur3cvLFjl/C2ZkJCaX6bzj10ddt5kN7PQ81NHVXp28kxp89UbervXs+dRVdp1eIHPx1fGZfPlLDKRA94RyyA5XstR6kkBEE4aqg534nUfRb+82g8vkXK1SAMJHDOM3sxnUA7L6cUOJSfK+ICSijY4G9Qo+RnQxkbHh1hzU4yJ+xmk0G2mcE2rO9eduKKqEUrxGNe2S+3QyZn9p76/DNt5BsHExHmCKrhM8bL7P8GmgY/h2NMUr5dvzHYQyq1uUnfbF8A7MDAAySZv3QJTHV1SG9tNLYNjisNUiCLXiQ9dW2gv9EGxfxGlheUfc04SEWbLMbYk2wRjHQVIXxm0lRumcQeTcHKX0EVXUA1No5QVBnTmqr5bUAcYm57gMkH2A/TVK7rg3YmZ3rjlW3e6dyuTxG689Ig6qFPOeyYRFUsT8mG1J4L5CUul4wbBz/mMaWxuzaQDs+ptqXQhtHmx435GuL3tMzuIqgm8sEWxwr5tY+rnqQxyssXcT3s4Rsooujslrn9+iDyUPAH7buqWoszFIx5RxJxnYyeknrdS6R1ZTqizpnto8NB9ohy7YCyJ3splo4RZBD/TxZJXq5mBfLrlCR8wx0vmh2eivub7cehEypGFBs1zbdrQfFsL8PNXxYoTcleNBfCF626IYYERl2ze6jLY+0Wzw96e4g899kyj58AhtbDH394csYL15uGnkm3q603KBrHB4F6ugMLJh1XUnmrEq/NA+MHQin6AQsk2KeU3B7s1n87h1YnnUhvmi+2qIVgCcVAjKe2SfHyUzW83jH0jMoHvcZ5y88IQHY0QxcPxRzTqvqFpLYqu2sSnVh415KlUkzuCDtnOiT0/pzf09k0lHpVoPBBe0IL+Au4jRti5oFgvhOsmV25sIfEYM8h+NBuqOO8Udh+vZhzUd3PDmt/zAHGXDwgPGkaJT/MUUQWZDFsTEult3Ctn+STToDMdh7AgVAyE1LzAoQ9Pa/B5Qa9iYihSgyBocu+BxeAOYUwLE9RKlZ/U0nL7FnW8NKX9pV6H0nW++Rsmw8aVPvz53Q1mqsF49/1Z6nLsDideHucDvtJ5lUbSarVjFWcMqS0F1DvuiAomzclnA0+IsBvo/oMceisU2YZ8O2ctGqDAfBUzXlzSC3nYUaJm5kn/mBEExcZlK9VnMNFior1apCuRjl+gPSSIZ4MhAITz1jRkswiTZVzI94i0Lt4B34Hb4LL2kv54Gatw4gYheqC3DB3LTln9T7Hpi1tTbhj6PtayBAKO0oNjKB4JN3Sk8XHypBALeJmWkHOk+B8y5yfm3SN4dmah3EY7hZlLaJGct6ph0CP+uGEhSMqYQ38DwGyjJtVy4zJeZvZH9EJfauV9i+iXx0l/wa1eQqQ6grRN0m3oQ9mt+ftsESNpQAHIxpPG6ovt8AEiZ6qYQkHdsLmjMaUvj/L4kLafsCukOGKp3xEd7n51/QHyDRJ9gs+vtwajzC+qb0Y0vyp8yJjTg949VqiAC9j3Vl2Oz//iOpqsJQ8HdCZkwIcH3X7xA62fpnwRzsgSEMn3mmfQ7JpDwb+lDK9Jo3eC+68uqnjbg85opKXA6zU2reHAV+z0ayL4sSV6d6TYOe40MWve7Wnp26Not7HEMgLbXhf6vMtsTOsuvfMlRGOEG/e++3PKFS87QBvysY7PhU/LByHgnNp77N/GmRoJxfGIahil5IFiwTH+T4TcQte9zlNDSxP9oIH6G4rfxu1/KSowKOtuXfKYJZNozyB1xvWKlaPUiSYWFlCM72pC4Aw9NEqT3drEvovpVkowMQvGz0rc95A5FNY9yfN62a019NGIQs/fyd7rS8XywxIA/yi61kU/DPZ89UGk/7eCU8ZOXkDEMPJdVe/6TRBU0S0tGGmpSPhXllyfpIyq0tmT01a7jMyLoRYF8jC3FAi88LVWOKsze8bL2GYv9GPWIojDLDKafmZ3JCiK+BTNIl6MZtZxg9/bvz45QS0qtT1aX+ju9qVkZ6QgjeyncFbftqzONYBL35IV2yjll1yFs18KM3n3nsOMnSUoD5EayayDmiwbCM2vfFYx6soCy9eFjg6rOTthZLWGHFQSfHkAumrh5KF9nbua8P40XtkfqB2dv7Djn6X4UH1AZv6qo9p4hZLVBNqWdWge79AwyMyjNNwknxy22i7ACDsg/Sr5Dj3UNBQ93zoqD6XBTD+zAA6FlwNxN0xRKmDDFsKkRCq9gMCSiGZou7mew94brVUm/hx4tOo1HOB4P+Hkt4g31hZn8jfecfjL/vn3XhxfkRd3ibJw6DRdyMyl7OUghnb6vXHjC0BIZkcgQmG7EW/0qMsEs0Rd9b1bwJDzSvx3LwyK+YkV3xsFGCvZes90yeK7L61ekQOPBbmokLu0CVJ+WnD04lE2HEqeWqY2rl3S9DIpdm4YA9qfDSv7oK1Jk3h/qpCn+6RK/GjF9yTAoADt7yW0gkDxhZYwH6Gkx2b44WncE8/wmKH/GnXswwQxGst/p3qePkJ12GkHu3xuQMiqHbxKf7PLeBI+DWr3q//xUPo4S4zrQQhgh+T8VLVEC0QfcV5hC/7eeyFgSIrpxZKgRqgmHLv0vf/joEDJ+RZTUf8oIoboRzpDjtiGt1B0pqO44JTToudHkK3NUCrxH5FHJ4C04nZLkfIa3mGNxl3rX/jSFLlTrtmSphdy73yJ0kwTaHqCtVjFQn0jUVk9lZzbyPQtcRca7GC3+sZR3GnxLSjPni0/8R3v0irXpbSjs74ULj/35jKNjiHtnZiP+6gz99WGSZf1rPQEfMjtEadj6cJR7NWkuoxKGLHHcU8YoifxycKQS1CCA4oC8J/KPkDlXp4A0K/yFS++q6t8TB1M2//nAokmrXRPf+rnK2n4Xb7QMQkJdJNOtYm9B5aXyPntNuQUEiSWF4sexIj9ur9VxfDYYpv1EOdIi+fWf+/GhtfWT0t3W35XPntd239gUeapn6vR68yHB6wBVnNfmUk1VMDkzduiVIATQoSuN0yQP6KZUtbnZvpljrCSRha3LHBjlk+hNCN+tbgk2LPVjZSI84uFQAPYQUOsIORXLugizXVAqhxWZU+MTTjp58o7dzXeBYlZ+E2K2RX/moXXg7+MlmVYdkP2iH3dA0rWO/1xlSLTH1fH06CGS5VqMZCuKJI3d6hGgUiRiwFHzZf8ioSZ1ItRpqu9SYLd4YhEg6uqgrhoIo6PcdqHjeWEn8rda39zkL/4LhURhObFpt4smw0xIAdAc3RuSu/8Q325qa0CoGBji1jj3ad65/0vA69QVWDlgvYVZN1TZ/02eyAm4YK/wHeP66CIBrdiJtpUh6P0rEwV7E7YZzmbSL3Jomx1HaKQootKeWfL+g4B/SWaoSQo3wLqJbf6xigojnvDNYTcYUJUpN+kSqAsttoD/TW7H9A6FW3Ygvck936f9Kgwkfkpa6JAdZ2XmvNu1WXcSQ7ogJPVNo3X/S6KmcC6EdsGekuaiPt5U5prnQ7EoJQQy6PIGGInKNHerE9pHXd3MxrZnYAtei78qIz+M6Yrqlcwh5adwLsSL0/xNpj8UxI0k4YPCsb4AZlrARDIf+KxbnUInjDXFU6TG8P4gFBkjqzCObi7ro3KVRIPsjAmQFoqrFzVkNvTcuyZvNzCCWD08q//CyWKzbPKnQZAjVLDebsGdqCXtAF03P2edw05iSHyQC4DVcOHvvbmuSpLffPxESPApmPvwnAKhWiY04F3d6SLZ+JlKoOH8Qo4MRjWtxWZU0wWCRfJis0zsorXhhC0lrVukXiUiOsDyx4mJz01+YPzCgHeZKT/6oYPQx8QHceIRLNa1MvuuN2PxVVdNIjBzr9AkG8VGlUjlNpqg+nTG9/c0XuwwNE07Kpb3X5GanbHHNk6jigzGXIHQkePsntdMjFUoa1xgPk1VhRixP3opCMloVn8qxWobb0gMvpF741kPIbcNMCnhgDrqER1DjKqKT1LSNFwNfUaIbzkSlNXSoj3hgyCD4sGbCjTsQpeap88MPz/uwuTtp3IcmnW8XB4T0pO7S29Q6IhEFN5OqnDVPvzOqWIMr5LZshmlcZ6/e+VuWCfMk+AiamhYcBtJoT6W2GkPLky1c7C7x0vegpQpBGaKQd6IPNqjgw5BbqAP9wBWeJc2AZZOWCLPcPa/AcsSBjxuh39rLReUWNxS9GY7rU377deWxXYeb6yjMP2FFtUJnJoJGKPIc6EFtBr1jiWMYUQRcztAF3EQTbLBeySFF+XY2pUJOSaIF0QEl00rh6w8k7o/33R1cV1Fki6Ty+aJFH6ybECG/x10+97ook3e+aqnINR7tO9Kh80BGuDpe3y0sAoEZhmHtROkucE9e4r2CC7fOVK03ari3MyUCoy8vSeueOzMXahXgUPh6wskBdp2obfIipN1W5vAVk1LPZjhf59Yq+2pXCsg4j3/s3Ci4Rc5R3fuGkVGJtlrWnvYkzsOAiJbZKZ4uriG704sJ/pO3IHc6KNWhqbI77QL0qATKSqWItud/OoNlgzaG+XXUhiuIo6AfDvG0vpPn++Xsz7Xg07H0sgKBk8eh2EodCjCZDDUdLumPAq6g0FWRI5B+zEKrSDepYubh8k7kx//yUpigZZAB0h4phy8uUB3bA773hFHBHv9rx3bFTKpx9Hp6fxY846opx9bPhpbzTUJ23Gdn0Fxvvkeib1rqIGcIaLk3ElpcVBEUNGP7g8aIxfVQEp87tdtu+9EIVYGjFcKOU+EaZHyhtdACxPET5ZCk8PRaVrkIt4XMbzx0GW4j5rEfZuRHkgQNwFht9mwxTjOImvz8ZzFns/yHz8bZ4S+xKL5Gvl27074bKmcT4pjdi/iRmjC09U4sxvCxQwZzDKDjW9McMCFjzOP7lzwuPN+fqrF3ALsaKX0AJaVnZIF2P8qJW+R9MDk7acimAw2mrEnTbvx05Ffvu4NMBTy9G3KYgMjgbkOLzC6xYk1LAJvauGb0LqG6yFC6r3htdEneRcdpc+KerSC6IjmwgsrCUPUo0N4R78Pr/S/3976xKQbU+Eu9SzPFRXZDTChd7/9TRPcGuEtKrbquYBHUwV6RAWCIg0vmAiaoE9DSMXOtUhIdTtliKv/OcwG43O6uqsE/hVWbKkUdrVKQA7zvi9eCULLlYGWp3cmnNejKevk3jB/9ayHOVmel+fXFaba2alX0CNnns7ei0bRVGP4NFhjOCo7WtQTnP0mQ0z4PeT7hyxjkusYK8iCJ8OH8Y0I/qC4hsbkjZu6x2DlEh1pF228jFThWty0pd5TVVng4MK2OJxk4IjfzfkubAKwqLRHQ3V4nldIB7rXHrS4hZztJHLk2jXqYyoQ+v4p5sUoe1hn+4D1hINJ52kEbacBR0n4uP9Tpz2wGUON/Gy2OOqzrUzLANcOtp1qqCcCMEoSwwahe1UYIV/kX8xmwbJnPKCR/DeJCzLTJrb1Ee9sKbiTFc32Hwm6J12qH4pW4tV0hHazZEGHz9DbGPEwYMlFM9SmEBulhFQqWaIePmOXYq48lRa0ns7aPvO7qCZQbmFFkeDqgfywHtaMpB30FK3Z9CBsqo/lKvUXzrW2FLzEe6/pc4fArgm1uaBR67xr43encZqHkcHpBK9QGi+1LiPN1C2PeP/fbZr9eWRP0h5e/vRQF1hdmG1q9OLEcnIaniMrPJ8tZmsyoPCoPTYRSWdookUkjJ86Hy3vkSFE7oaDjvW7BD76hrTMeKFnTSlvPxNBh1bak/8PAIch96q7zmBiJdAUsxbYHdknxUNOnULjYuL63mc2d/Bs/YGSXTtIEid0YLJso1UNcHQdLxk3bsEtHvKmNUbWGyR+IohhyrRBEPjgkqn2ih6O4r7SZSYRbTyLHAi1XbWAvNmmo95jBGeiPr7wQvqkjKt2XRDDwKEL5OGopQIlCMS5ORqAscg4japQBShBsciyyQbhzV1vOHC5g65BLDhnwzmYdMZwSw7vSPyCKL73oA+lezooyi76l0Jqn+3oWNpwLoCf+uX/xAR0SmnNfmUZUKHgXPgK1Rgh3+7YirkCfnT/b6Z5oM1ued3Agd9oZfrNR38IKJy78mlnlRSPP4gsccvTrN6rdsS+3z1sWVe58PnafQvogkrXyN3HAItJ2++dduxZYj2TlmOhuf0IKuN2Wae5N2g3TF09a6W7Z5GdJ0qu3mXpL2owyFmlXR9s2BOwMw/BGN+Pxxx8UPHXFc/FPCULvn7F0lRWIDOv3g+tEDFJmcOAbehTAigDVVcpZ68ATv8zSngbOAF66FCvtyMehezsZOUSMXCYAfcP6hD7Zcri8oAFKThbJlHTzh7sHcjd+IBTobnPaPlj+KRi8z0RtLpitVFCVUEcwWmeYc8no4QoRM4+hbPnx8Fm4LdCFLW20Tg+m/6GnZHEClvrOAlX9Hcg/3JT+sUmiDlbvnMLMeAdvfey7Nmb1xvRkC7RTml5qA2pt1fx9TVKuJhiAzThtxzdddY0IgkUBLyiyvVM6nMhyK4Xs2Xx0C4iEmsV82UY6kYQK0kfYWrYWDvIm7cewwdbQlFijBg1JwfYcsMAbS68NTunChYHHRV8L3owfXmW+clwQxICyCLKQubBVrKIRam5NNuD/sohorecuLnAODxWE4nyrHT09+G9oaItnlhzAr7kdku6tA+QTLNdFf4cf9uPYzKlAQ/ahdYc1/qKCgqXcTj3YNOx+5qyeHkGcHbH3uFi4r+nojZNzf2Mfy9z21/4GSi/bf7R0bpr74lNlX9WVYm0ICTUicMJPJiGus0HXmRcULFXByfWfVTcAgEjN2P2WsklbC1+k2IXjEJHsfmCZ0fNtEMGl1X1KJpXVzAs9T1Q/FQBsn7/0MKtQeLG7prc9Ni4fUoVq/e8VLZgXmcg7UgQQn6P1vsa+G/HqCpfb72fywDDEUcoaVz/Ni+thtZz1meQ8CKCLRU/Ev4hfOs1fXUtbS2+XYzsNuf9cSdaPKgHoICsBipCMSPLkI7NNZSpeUk1gS3jUCcINsdfzvqOz47Is8dpwW+iZuPqVaa31J7NaKGxY9MZAZ3yaeWmbPTvT5tHgGdbF9X8xPjgAM5Odwrk3CrdTvw1VophikMP+0h2FSf9S+UOwviVRqJNZIU4A0Kx8o6BEgqMiYfk1m4/mataqq9UIat16wFdSnb4+s8kOQjYywfz7G3TDrP05SpMHtcb9MTchCmzEPGqsJpiCA4tVbBoAPT1J/HvFDl5G0IXk4XrMVuhS2sFdCOMcOWmGs4B/o0qGcmuokYsYIIsHR+dOrUDMXPA2Cz9GHoHtM1D6lOKZu3S2KYH+cIjVblfKiM8PtVGk/0mUb3z+sLRCNXOhrpilveG0S4U8zysj5U4x5PN82A1e0kZdmqsfg/47alqhyOVCWTUxeHU4g9TULRD4ho67ej7Av9nHgZo2caLETr3pj+sGi0ZnwwKvHDx9wM4XVnI5syF23mD6/iBosWIWUtM/lj6WUwdgXYvrn544YSIKBF9VE8N3+ADkAZpU5kCdMis879GqA9w4eUSPkUDiH2zsI/3mbAEHzvqx0Xd9DmAqhIZTo7VCEB+wdg/fe0RC/Pj3/sdKe5WjTPNJ05PJglQNMbi6qVZsuD4HaKFVad+aruUgidzvMxtrwlIl7iHgTReO7lzE07+WA0StDzP+A3Wbs05JcMWWMkeJmCB5KKeUSpW2JHydka7WdSEKNcqWrW4upmQAiYjxbWhtW7YbGDbe52swatTaEKeCEUqxTJVURgi0zVde5ORzsaXdbohM85Zu424PMWn1RxeHKeerY7lPJPrxm0KZHThH2VV6GjDIfDxFYe8Wq1QvkDXd7ptTa/H/eTUw/t+UnPW38W+n5aeGtCQcjhoL5bFoL+mU9/L/e5+pEAJoI0JP0U1rNuCawYRaxDTOa4uC+JRbw/vp6c1MwCqhHsirxLU1hErrBBW7CzGcY5FohaR+nS7DCQ2PqwMJMGDIoja1sAZmVJu/T56XHfHy6j85Y/InAJdaPZL9B9YV+5SZHKLVnD631TenZSkhH+NFOWuxW4w0J2jsN/qZy7qet5WD3mXTbuGr91/gYCiTI8A2ye1VrAgJbP+qhhrXrVfV+f7kkm9JorP/+u9nbV3jpymQlaRWFyPVcIdbM6oO4iLJ43CS4G6kA0M3d0gD9sJxvsTeGxKU+M9s2mp9QuJtTHl9/2kUpmnnryzwx/2sz+9NcXfGhp7iwU60qUdTV++i2VJC76tChZLsIYTyNSisfn2TXAbvcnUPiE6QJS3Nlzru9MakNMcMHN+en0oitIL2xsJx73de9HjbTEBNGpDvjT2MuQJJo6WYTSG84n/StMTBtfz4Yxxrz/OU4HMXLM30ETQwZ0ipc7UJV5XqKsj6u4YHk8Kdko7/tIosF9Lev+g5VK1JjEzMWaUEVaMscrRPHPB7HHID5YGz2gy6Q3fyC1qO3Bht39rzrIm0ONwlpT1GyyaRdd0hHWzGl/B6wfGqkjSb59xKL8Bma7cu7ZNib/qZAKYJig21YHpvD+W0Enf8TXTjUtenpuDmu4DdGnu5O3kdftN6+mTEBEjdPx4ohkJt8augXySmq6yWvwJGD8w0tNK7NYwMzVr64QrDHZlEWVrs4auBKpyElUcWIAL92kZMrEZFsPigtRMbS6lno2fzoODe6e0qV4LYzQTDGb3mHnKP4/DFkAzb+aC3X9Z45eNtr5/+YUI2YTeHHZFeTasMIjKrErWgsxEKwPogL5owLwsFfwM03Dr/WWYskdqkAh5FkOHQZEYoETbUvJdeQxKTFiehLDLp0S1tYsUUDNRkArwmXan9mErZSiZ8IuVjS+/Ug26eWrG99RULYDtZts0ax9g3fyjVZiBPwg/pNqkY9PB2yMt+A/YPV1kAvz4F/agAOFmGOZml0CjHJstIv43bQX2J4Ihjf3dtYM4+LNGepox88D/V5CDskJINaYIj69lEhGekpSf3VQGERyoiRptcoGKPymVscSFnlMV6UZwrTQn6uXgdf4jn/0b4hTur8wn1BH1iYVn/1T+9U6/7uk8verv5+527ulTvAol9lZzNcGvjUSQNTcV3EG7b95C8HTREfZcUAme6RecfWOwKgIvFWguTlaciGs9mSIrakkQAg+OZMaAkHk/mxlI6z2yyI0qWh0tpiYciUOb9w+IxjnJijO28p61f0RK9tJA6DNVlGrNoD2Htfde5q8GutMjq0dX5JpiEJbLSzEbbY0W1Ur9gnAj23hlraeH5k6e0QF64SjTrEbcFKEWFMU4Dum4c+jeDAvH9f6lWWLRl6nwmX8qwrk8aDRp0lLfxoJNbs6/ue4YUs/86kV6YI/QKF+qt3NV01+LusdPEMrWlZ1/R8MUBO/Jqwkd8yOOCm2mB6Rk+S39p3uUhrdfE1hnyGbTAesXw+eU0YZqYLwQ5vZh3EBDzWCOLdtmGaPihrodJwDX249z6ziR3bmPaL4qhshc+j660cCeSUc2JIieqyRP2K6wnTvxr1fzfpDq3ufFc740KbD1ZNG+BsExa4wVMY6dubOq/mUL9yi/Yfsh3fODibcKOwH2R+do9mb6AJyWgOjPVbdWzepmtOCM+oh/4w6Jp6UHANkQZSv+Z0xUReXQFWrYU/R1hBXNOwcAq/mM1qCcQS2a32gXStV/AOjtn/rp+IZlncFJRp3pK4Ial0GE0PTKCG+TEQo1Rcpjz/HRczoGgxxhnGfWXVc+HFJorp2ncWPB6b+6XcoXHZ1gAUXwPKpJNMbnqId+N71hWl9TjN/UKlwvckBf84TlmD2HMwM7EGhbLL1cV/poxJ3TAzNnqZKitQcT9vo69o9SDBfqIf3dwySPOU6KWvRNopnPeMzf107M1Mz4jpHEIoF41M/ozR9wgu4P3DEMmxJss6InspVhQOSmpHU2Vgh+oWidjbqJZJ2RWmqRjIKf8zn9VVCgLImE2BDqRsQSoITw9NuI7VH5z4/QGTUVyxtGj9wgwOR4OC5EV8phW2O5asVd0OHiCUBgI+6HxNMdZwCHMto0MRs8nZ6jX/dwZlo0eJUrwMTmbXx1u7dsQN0YJSk0+TNngVh2Ln/AwIaRpudNdMpHUf3EvJWk8yABUfNQmsa7G/G4XqirlfKTPsOEkMjJW7lfFRLG/eA0m28KyXRPLg+v939QT9EmpJkvIGV73cb/eif+gWNeJqd9L8sQyyN5UImlc08axUn6Z7sJ/xfrv3RDQpCVkCvkSJZwh/2Tuya/2Z9zMyZt3eFsJVLpY7Z+XOgppx2+3suk8C43GN6dRvg+QVEH1S9KGma0TZEFVoEzCQDqE9Bs0MWGbO+/5GGSKsJWkMpgCahUUpCGAYkMWcggXtku+eeGn/qBWVe2XptNL42M22T4dlFVHl2bX0FnQJQtt/jF/clFtWHaueJ8wQC6cAL+VEXZLWNLtB9wOGMhMUWYlGZHrTJAWN896MlEam4cWvjhMoQ1lj/eDrBQtIUTVWR4eeEAOgoz63ouebcNQTnEVm1EU4UtiN++HQ6ujmc+KbnOVf1Maw0RpCF1DfKo6/lJyxNHzkqlPDJmH9CzDaRK7ekQtd0fdUKUcOfl2vfYYib74EIEyD8p05CR725eo4GMZ2r4z+eRmpwIriRm5g50XS36VAfr/tCPISVXVUUEjElq+OQ6QNRCqeOnSGexJu44eENq5lVCuJb+tMJkjUR7fWfjqlrCBs7ZKkIsKDKj6OpBNsTncvps6ysrU3T/5mr47BOBVRKN5LFcgzR8Q0Tdl5JWyhz07E1Ymk3yMIv8ZUs0FQioJJhpSuEGyVSdNWyFnVE3hA3VWoXNO0uhCLYCCm+d9w+zcPK1drdm36WhXhfgn9GBzlBJk0xSlXotIC4CZlGqjsdn+esuU1s7P7eryjhxM8MXKQUoODjJJVnO8Gn+PPP0MXLJkogdihJXrc7Z6PlZBLDy2yg9stKQ36GUedBOC9etlYYUSoW39rtGhww/goTm+hA4xa6t71ufjO2S+mQm+adAcVkQmYGeI6vy+CE/YyOOlBMnV4cMoaFnDFYAjd1wDTvQOUwvFhx/rS5RaTRQ0HpjGg+dqDu58l+bjLfyknfeYZoG68+OEo5TyQj7PSMmdrqUydD1qrUeu+KizgHmlD38K8w5djiUjUooZ/z6a61+so1yMYEk/QHNyzn1EGoFB5TsWdYuf9oiXqO21tklGo6z4IJLoJMRudVQ7yLAHLJbVbgGwb5/qV90oBHzPY7ppaCDEoTBlgwdGiZTpuDRxad+DZqzejWFxyVVdbr8k7nPGWZ8S4gqBsqSA9U381MV3DiZyV4RjCbYxtdQ7/6kHFqtnVBBXRQRUbSHiPWZvKpYo/iVN3G1haJn8vn6zUJCW1HmYk6KWGi7/SdXKZ178LnTwHtUHp2lXv8XJOAwB3Ns6mhiu47E874MiDRnkUwZANyseHjvA7579YLTGONgvSx+5SJc4z+orG6/moUDKeAlno0czs/9OJ2BTBPLFR5jYVDfd7P8HAQUKvH1pMIh11C/zINAyH5Yhthx/AUl/UXwmyfXOasMNwP0wCX8vpaRKqjZsvMDfqHRM6eVUhYg3TJqpSCPorapWtNhzaCasEerzRrxfivtHPA8jjzFPnpbH0PSJAMvuMbfnbI5HTijqFCaKgsFRi515ZR5M/q7xelaViLtTZDt1zRNcihJ4q1eyRh/LR8Y11qK4RXrl/8D2QCJPkf3SXuufm3YNfN6xkzl8v1+SCNUe/xfzqzbuBv1IFq6RziZeb6SO1kU7I7nV7NmRejHsoPK/qHWnNkj6oGEwkOMXGNBzqs6Lis9mmanKslz0PS0phgQSJbeDTeNeKde5fh1XhMceyX9T6FfHWjHcgKBcraPedh+WCqCAkmHSnk71S8FNboCUzk/QLyfGk2RANdyjc6PxiUvjYkfe/Bc/6s0HBF7aHn7lPoYZOIVzUxR8wDfFTF/WV7gV2RQW+B89kjwCQlVbLBp8oj1iVvkgS3q50IDYwwgyhpf08xzwq7f6HSgmi+2KtkzrtBlAQo0O8psBr4oNKd/LuPudRMs5NjSmhA87HHOp2HE2kA0ICehJtYqOg3RIvBKlb1VpuM7bBcyXG+oyQ5XeRp2LnvQhFglZB4PppplC+jy5kduQc5Cp5tjqLSTWwRLdH2Z0m73v+oR5le+jWCl4wfj7xRhyEPS2RbsfCKWZGtzweaDoG8q9aHyeHevUulbJkNjqObJJmLwBjxkBK7VJ3GeSnS1xP/f2eE9PpqNfqZGBsQ7lMcaovpFbGlyS9oMUZvcIGdgX1v/5LYYqpSDO0WUDCoMNUVmdkOTy+lCM/Zxqdbfk9fnR+9zF+2jzGFrq8epU20DkEXWWucXnMPl1huK10nJt3sHKzqw71XKmtYRmOzb35mMo3/y7gsZYX/HWS51UUynkP3foTkCl0peZfx7RJSSh9C0IIZy1pScdgGWUbyedDSQwHAGJn4uo3mijDwUbVC2Lmcb2+LEwLxQX/4JS7Rbk9LguUnBrT6btDv+gYJyQJiYg1riG3Gcx1dR5RUs5fWhHp6zuhzgFG4mxVZIDpqRfpSnt5UwHDHjrubqUesQ+ShhrAD6DbQ+4pDOwMyNy0KUoU6tGhUYlrRXEYEYbifFC2fNkZtXNr9uH5nQfqbHJ48QHdAPFhibfjtH0LKDqRJ3XqFWm6RyN5keUHwjHDoSprKJZw4dubNOgeHcMzc3wqGmyvJBeiySieYvRDvj8Td451ttSBrilKgTuYSfJWvTR2ARgaVGJJblt7B7LhrIdAsCi5feuEvgLb/ZFnoTKFktIEhb0JYLeO7Pqq5XXbie0Jslroxg8L2AQK53exrNyMZAcS4/Mbg4b/G0o3er8vRTxnXI5LhPxezroFq+MLnSSpBuPxfQHy9sYBbxHRI6n/ELeybVZjj8VIoaaR0HBIlRpD13KUY/x+u2TYU4T1LkYwyADZ647UtvZxF58G6ySkJ++CALodRH8Q/Vr9zZrVPPGrQ0qQ6XQrUHlqATIwrIJXNBhG7ZOHA2BFX+1T48qMKOvlE1EnsSOppzAq9cJI/F5dd+FUNpJTJp/N0qGMDFR/gGlsesz/c8pBDOmH/c6KhjXCeJCuZbDIe6dGYcg6zz2ZDCHK6L8iycJTIxEbAWrvBD2ph1AiLx7C107i4K6STf+eDlZW9pFUYWfRJAD8BVeRLmIVqF3eKz/4xY6mBry48pYnZPgh0v6aV0fPQZ0dWLN5Ox6b2HKparjsSybK/+0dR94LYYyQ9++mKfkoI6sijdJygZ9SKUuSJaZfKpZS5zeRdp7CMCUFsCEQllgeQ5dSjFKDIZKp7mlAbnUyVFb+0bkM5LF65Y2gfNhT6sGlaxZ594d9RciSoBGywoVzbvgKnxtDE/6ZNqtCLytcL9XG5sYGCmZ7K8AvA82gxvfdbIXHwD+2jncaURE43hP0YwUnFWIMJzxNeUE3yzxaYFbUt5irQ9gSCgpuhCVuQ4USTjLFbSIwVE76r2seYMHR/ZXwGk2noZw6RPzfkxYPErXLoE6GonC+onkSfS/Wa8lmjtV/bBt/lxJ01BazraAzBUpRqUO/O3ftf6stJ262RR8l1NtflqFYWvAufHLQGA3fW3vO3q+k76zXzpzgXnDFtH7Z5ZF+onWl7KxF2VMVfTvvdZRHuB8lSFVYsdJYaFGLgM0y1IaUG6D5f3qSVFvA6wKnH30x+6h9cKLqE1O2uHVwb2T0NQBssrV1H6U+DDVp2aIv1yab/AAu33r642nPKuRRTZZfeQ54u+XpikicE6pCQ5/4wHGXTF3EGGZaHk3yHaczdiTcSnZW/vhO2PLEJLBku65WM07ZRwPqfqefxQ+jj5BrE4Q1JcpiMEfKVuHLVUEiTLWrxlQyoU8nOFCBiy6uplUJHnEmTycfmaB8KzAZmC6GZSPpw6prw/jQluanvlbeakrWKp4zY1q+MOSV3y4Xl5Q3KtLYwGHlIQCX1ghsw2BUvJ1+AreAnxrpfyA6JFgphOReJM4exfLWkI3xNQZVFRMtyNhfUaTFDvYR3YnryCNFz7AABEqyVry2ewsiL/MG28NVzsaunXZXhDt6jIwUiQCET8Mn09kwz9wD5VL+bVU552MwPWiAVx9ALu329tHLpSTybkQU3L9XxKEfh1dVmV2vZNypIB6CH5nMzxDAojbOor1QFMXfym7FoMJDFZ7y4k74dnld2B7WF50M4wXFaUrPItnc6FR+RkM1fpx2ljYb49vgb8cSYPbBWyBP+gQb4qJ6SCLEAgh2+oyexoSQC7rQ9E0chw5+h7u8Ed+knuGP1M+HbubwTlIvT8VRLvNoUZG+GvIs1uKoC3liXYWObS4WelewAPPyEapXZsZQ7sAfOMdOPIfjprDbf+khBVcQTPNiswpr3l4Gi5t5FWB4xOkUZCbG4OfWwCgPLra5VAPIWuHmeZQU6UcKTaFTK7ojELbbWNP8pjYe8nyJMeZWzlKq4gH++TKNyR7PEP5qrkqZIvNNgAlWgEEaT03qy9A4rCLN5gN0dH7YQMtPqYMR81m5rX191mzuAEjt6V6ouNFE9/0MrbzIsDVZ0jWmnAJN1rU7rzFIov+ulRzK8UTJAgZYeNstM5g1RGmnuUA5E9tsb/XcnGZDF6giyx+TGXV9pWwlo74oj4Bcj2ceFCVR+6azpNSY55o6K+1yUesGJ5ECMe/vu5iSWzug+6kNUTt3bvUS0w+rW97ozBxp5T0N3auyrSAhZJSJZFRT3193y+lVfNls58ptugTXuLLkwMYsko2Nmm8VGhpcy21txKd5BJs6jooZpO4+eem9uBp2nkiBaKb2qr+3V1hb8j8r3Pa9+H2T3XyWrLfjxmg/8xqAqxPZmF7CRKeoAKK8XGO218u0Ah2mMRAT3lr/eBj0qEd1cgV4kedxafhUQjMZnYsHtcPDG/7XpbGyi93Le1PeQAheMQvQ5ZKJn//85SnMEQtWLZLN/GycQ2jERZa3Od0ZDKnLL3jH5qh52jQams0M/HH5I1zJfUFnCBQItaPEqIVBWaBWSWCFnxVmYh2s8qjZz/4hWwzfYQbcz+TjcIKBsC4YVqW6R2nbajm+PPURry3Yf1XY4PscLN0rNszzfu3qBwyAHKSD2KsmVIA6yQQC21YU0SwRAKbGLtATaSmMU1rXQoutVmosBbPDDnk5WFi2v29kAuRspEi28e3jmzCMYao4+anhhWKa6LPgczTJWG0RX93VBEYJAnLbGLRLcpul9e+f/N4Koc45BbwEY4nsYhnMbp+OIMnYXQYEmWlGyPSaPaQPVXy4FqtKN7Ue+DM1dQxuRpdcGKclIOqWQGe9QdZDlWxs0Ue3IXMwoH9H1z7TdaOPEmydLLq+wtLJ5SRSO6RI25CKWl8zmJIUgn+2VfgoToznWKwoGk19+HDkJiItFlsb657OcndNTEqldiXAG0qIHgggAtbgD6K+MyIT81muxDw5Th8TUCMTCvAY4Ge7RiiivSsfBCJnW9BoNlqthaL5TR+GCN55Ik04f87okFzGdqdHwP6/TQSueMo/tPepWryHncqApETZPr9pL4MUMSSu6jNFAsP/+EiuNwvM3AEpuwXLWaTQhH/r6JSkYxdQGHqXqtzXINeaqKHQ+iN4bCQZ6SZjAN7Z7CBP8IKXUjrn4ziZ5TUTVnaXtp85fjgyUiDIMPep6rRQD4Ff/0jBCswZ7dhwSEQfQ5Is3ppc9yEcquQdzZ1oWkxX9yIeMtMWmtGnZ148CYGJ14niRvkxXIXK597EXkZ2HblwoI+RsJF29PLwPVnaQgivn8mQJNW84wiP0pBap3BSRmz720fXrk99HZguQdN3CqjTPzZXLQWwZc7uxPAWSX3eU/V1KlK4n1MtPytdooqbuboyBYMe2kqzk997VrDrXiyIJDjOAO6OPHWkmG6ZbzHdFRstUfpcQkrKkb2vAWoXtPwgas4D3tLyPSQd6nc/OokATELau1JW2Ps+si3wiU+xZTWATcY8f4LK86LRuY3xUAC9sTn0IPH9wZWw4JfpDSFdmu/bEiPdZkmUNzCtKIQl+j/5+zf3xfvYwHOVa1FM5y6rbXNDIyI0MIkS20CMJov5ALRSB7N66JsGNIhFZP+JabrHBJRsoO20/jqewZpVOkT7CW5YZvG1e4Oz2F7mStItjOrox/QsJQlPPGmwDm4PzhCNpyAkCB2VLmNGHadisAyY8e1bRhz8jYcWtQqe+TDZfSd5Wv/pNeAJj1ItCLqO8hftXcjdIka5BQKZijhx4oGBnGc/jXc85KfR0TNRSfE/sb1C0CbYzG6HidkVZ650+y5ltbPAMkN+JC2O4y88JPqQ1g+8ErLu/4XbG33knrMvavf7QDvDNTG6cTugLz2J9gb0cfsbApcRa7irdXvgF4Qh8WqG84ny4/cyi7PAqm4gIgNejaKrmDeELo3isn9WnN+pRP3MQRcVrL8ovFydeiuwKCbN1rGAHphQnADg7Mg5dy4xbASuL+aYagSTvHPGEIG1jDlzeueW5bWzpKXWk+Mq+DQC2BgpF9icy+m0GCaCQ2+3Hj3+rXnns9geRzGf8zMWJ/C0yQbS5SpGiOfHHn6TYqvwoqfwutB8y7+PTPvUhaaQhsMItzOdPP8pIWF2Hy2ua3Lo1rSgELsI1QBZ7xHIQlIkrxVWhdNviRgEWwrH8uL+AOxk4PSss9QrzhMFo1/kmeHcE0sU4KMRedXoNa+9rKzhYBenX2JXuGBcw7RUyyVMvg0ZRFdaqneWgZszCPSCnvEHGjScipqKPrhb3lNzbjAKOHOCjr7uZwl+l+uLBYAXIIAtZSRKgjXLiFxh8JcDsxdWTs3Hfb0gxI0xQJclvOTpcNybuf2WTyCe7m8Ssd8f1fh1S6RFYYbbNOk4jhG1NN4TE2399d8+CjNSIEoYiHkronVlWQEghcCH6fYRqMeF4OBohYiK1TWInstzPw2mGjaZdhtmtJGbN/7EuQLZGoJL5PktJYijUhZxobulpzm2FQx8MBxBtMJNJBI7svWHEILmL9tZSd91fQPC2yMDuap/R4pvOrWGd3+It+HEMLlum3w3iqlZRpEAtt7P4wt/5c8zFzcd/tAz/T8+hbMFKb+X5FbfPIzxLNuKkEcsyfQ1Cn/Vq7cRGdNI70YXj4Dpvf2Hc658oWAHg1Q4FAwom1tKmzyJqVwKb9CsRV/BueMjqRtBqF9SC+/tIKj1f8oLMcEN1nk/DOkKBIaw23HQVFwkmZWf6HkEPEgHVlFcKWuTMuQ9C0kIv70AdND+5WTkHGue6VggEE/+r0qOD/ogTGzn8hNxd2QZbwbilIs6Fql0vsTC0uBReSo2Vmmv5VsjRtCw4IEt8AcbDzX/tGbhDpzwnyfq7DBPIOQKAWHcSrwP+/1pp0G5fbIG9a0sAvDTBtJJc3Wu68d7IVlaGfgpMPiN5Gupz05jmaMtCt1fnzaE/onkC/zaIPvTuiMYQgX3tR+76M/AkVEfuDCxBUXzYqVdZw4yifRRkvxXKhy2p1kd31CI+vWm44C6Ky+//IMxkm8xLvpNYjQz2BJhcpXvf76Iv6IDKXzMTLnfx4AXsNGj6OWwMhxnHA6ra+nJ8K4ZJ0ilsyMAkec4JfjagIH4ZxI4SscoVMwKI+xo7Oa7jnTJ+bF9uM8AMrYLDuH3pFN7Zw7SaXbmpskyTFRJhPw7RnBcdIiHApRYvocsZ1WuvhcYro48ICCkHHokIu/6WoLiUI37OWlyUpbOR5tA+oICeCmK2I6Fy/d54zB25P+2H6IUmei+bbaMYjhQJDZQX3lhGdYjGjmz0Kncoe6MQKueaedU1eIdN2zcHu5/WVu/a46UeWOvd9L5/L9sp6xeD+zm1Tm1zRY8cHSRl8IKDkkbsXPZ7iP7HkSJZ58GIHEhhIS1WXiZek9oCl4ng1OVE7Th2u1vY3mu8CyH/wVx5Yokc93Glz4M4OC/NQUUbZrHhAhEg2w+yXuP/RlW4XBfxMVYef9PoQAl1bBy6YlAvm7yPiXXspGc86Rn2gRxzBingW14NNvyukNLaZT8v1GHUBGcP9lhUqYZxu0kM59Y7QpJkfYopu1AaNBr8zcQ7DW5KmwYnfpYBLRQHoKURhhz5LUBLTH2hbwN7n50rFbnh6Qid+GcQtHIX0RVhngPNw/1Ovtd9r50pgQDEJ2H/GeHCd3sHf9ioooQDYjZcjl+WVWtGUN1s43UKzoosTshyQwIlGWvNtZr6SMSzbf/bTcCKlGlDCUSZyoU9EoLK0btTg4slIR86DYsEVgrDFB4ifZFrN1Ozga1g+nxH+S8pXcYVwDGlOi2SlKRlrF+l3qSHbvx+I6LuHdvD3v3DfjLdG4de0wcNqS/G8TZgLsaOuGYsOmN48NRMOpSdiwAGc5p/SffLawfc2wmkHamqQP49yTe/wPxYjdPzhQF7Mo0lTH5ooOA1nD/jfpjSU6bDMhRcL5b1gvP2SeKHbGpjI4NTq35lxWTHtbq5u467P6aR/5BDEhB/O07jkOG7wM9hTqEvaDEC09/b3M6FiOAHJ3SueV5cP66DRJCK4d0mT6PtpHz24o1l/JCtYDg0HQFp42/miVNrQ1+aes1vk9vA32IAIOs8acLOvTDA90r/yLhzXYQb8jUzWtZ/GYiLfibAMFwPIbdm716FsvaIW/qn/d6c8De350qNQz4tQtKT46eYS0kUWdBqCWFNFVhNgep0uAm+ssZtYjpCMv7no9psdHGEXJHKTfODiBeYJL0nUHPTQOsMJGYkHQG2cQaboe7GfQ4qTAw0GFnQF9UlqEOS2CAW8pMHWTaj5i8PlD9Ag02rF2YdyhT3bjrh7ciT2YDoEH/GvOFHe1U14vn3eHhrabh/efXsIRrO0kFE80s73NDr2BdMU1iDPYtdyE4JkA8aQsmLTjh4cstg06B0cBkSqFlK2zJMAvKjtixq2ucr0D54/L5qt4C15vEVcPIs4WgVGB++z2LiErK+kLtrJQ4/yIBXNLNopCtLf3cwWTcR+/j+xEUTI3dKLXGjhwcAxlVD4WFoq9WXynnt5N1fVsjxq9D8fdN427q6z7c8Q/g8cGRvW6jyEYAamSv8WMqGHg7n1fSIdXA8pl5Elj0689nSIzktjppuD9RbOHHaKxGi7bz1Sx7xTFbcIPoNNNLxfzJXbIB1p748g0YHj/jifnTlmqUyD2ERYhCc01XAR83EInE+Qy3FGo+BC4vqiqJeCzerGWInJ4oOH+Nn7QAqzA48Am7E9GZAFBXdZqwdthUBGv7cqUNFWQhNYoT8qQ9uXS073T4RSA3YqTCvltqd65GVQXYKJ2z3jLK6gssfSTgFlVYbZZHqPD7U6wvWgIQUyaMkbWnOoH5o8IQMPWlhs9XDV6t0TBuCLrvk9ADYXS2AT8lem1C3Pc6d7rezWbNcIcKajOlVbnern5fF/5acNU5vrI93jR4D9LFLbHoGVdzYjkUzOTPxJyYLK4WDr/CD3898CyCS6SHB/e63SHurAeUV9zZc6oj1rAWCKV0EJHNXkJt8N8EjZFxBsBZ/zFBXD/Mse+avaXm9KoLoCqnEs25z1bth9J/gks/rBmtvvIaW632pRCJWkLtDbTvzcIjq8UR2PrHFwKSWIdXvMiM+Xg+10qmorX7PST+UcMuZJko23zpnegDGmsNzQbDWijaPYGu5Y3876tv+QwV7PUNZP42+k6KTTxfuuPLaXCmYU/x/sc+ia51bJstDojmFebfz2G0u4Slldp5R/MLQDshR/ohQ4dKKJQXd4lu6sQdVIpO0bqD5DdC3utidWXdzZWSL+hMYn/Zq6XZuwyR5WuJFQXAjFCEccE7543Qa2xNYAYoHfwGsQMQKPJMXnVX+72SgLXKR/K+sya0vDEYLQa3E0R3GEKss82O9Us2CZCxOhgK0yW7qnaAHLjqTGG5uPyXHLZAp/qCD5vjsGl4vx+F49J+u+QPQ6ShYjcwM6RphBvZwCd/NzFZJTWkHLiIQlEdNVHsZ/LSehmkDHvofgH/c3p3l7Bpb8esB+PCL3dQqOntRNgq0/2rJwB4IJyy5NH7TsKnRFpxMFljYxjwcByqm2aVyGU3ZlD2qPMvqU9eKrcNiifQCL9ntuIsPwkIOuyc2jyJvMfhDSxdnPN/19d4KJu//+VNwmjINlLw6NFQW8vuB7uqOj2L6L8QTSYOieO7tWXZEclOKSppEHukRQVLzoltqB9sMgHYFk3+tHLRLDU2eKjxmrddFdvP68Vf8FpUblcWsMEyHGrPqmG2iNyM7qFcIjl5/uamw8/O/17JUKXdda2gxxXSqTIbXF6hdluGbG62+UnYnT4XTfmgf13/lhB7xi1RgS/Lec38v5vJ7fDsrxBNLPnzoe70mSfXF/houvByrm5z4EmhI0kemctZim7kZGvjxAVrVVbS2yY2TO8SvXk4KdVfO7H90xALn3j+52vqJ4aFjI+aJUDR2QvekQ46O4TrGdhzqhes4KUbmQ3YWchoPIsJ/OXmHAX5XQFRmyXYME3fqshT+VvVvby9OwhaXEdF72h+OKI40wAh8UIt9qNomEnkoUvKX9OW8XpcEmLljTP77sBochfCO+Sa7a6SgSrD0IldUPtslAqopPhauyZAOkU52WCVxLjta4mblIXJks/qRO8IGuVJjkHXzQ1sMsq4L4u2Mcw8pGOP4QIl8B7b0ctcxMz1uIhCxu3/vylRZlUG7nkK7Q/+qV6O4slqC/yCP4o0vVno5oxQv6nklDY8BQsy/GoocnNUEAjPxgYnohKKd51um8cIeLZ3O+gaT69banlBZWlLuGLrC2LDFznGU+sWywbpr7MpG3abFJkiXYFbVJ0kmOGU+0AJCTVhpGgpPbJS5BZ9tPRqyFkm048fmlfgymurAIDhDC4EB+Hc0Wv36uvZrC0PG0t4/sG2renMNhxuDctVC3yBT5vlPgxDwki92XAQJ9x8tezy4hRL81Yd9h0+wv8AcWd1azhH5qr8CD995cELYXdzGGEhRKVDUVRIsIgkJtKbwXv8qf2txFEEc/hJJGMwcqmHcAd4TaxQ3VJvIIAWXwz9Nu8qlPhWh0heHwcPZxTwxppQsOd76AiieJPQaVYNxvFB/zBWcEqJRTsT78gJVGIpA94NP0jPRT4HPHw9KYGDOudxqiZJIZIPAl4wdKkYhGC/WMzLZsqV1aVTaWiL/bd1PmUuie7PCFDLJX17jPz5MgD/C7LZmGMbtwD5X8FKBVjXqfBjSD0xTb3l2jjO3RKJeaSECf5UREZMj7QrOtDS7YXgVHCNqBKmFFVeLVReGFshrarHPteTbkKyDep+tRg+j7XwKowPqOq5e5EICV3k9kefKnuMLdpNO/EPxcxU2lxlKvpaRe8O5/tMTGzeYC2hi3NkiARCDYTpQW3bnFS16ZmCmHnPKMxExjmXP2qogDsZgmBsBinwTlsnPljyWBTbhCbA1tBQmpuK9sfOJ3k70636CEGbIafCHt3LcFeRfm+QPhBiWeY+m8oidd2odg12gGE1IcyoxGLTJimHbocX5hxDPjca1exmKGpcYsAkV+BJtXLULMSOY/MCe1Ws88ceqMcAF58KjjZj2d528w75O3ZIaB1U/iRJOsUGbmaqv2y9lf9zK7nqAd7VVDCDIysZO6/hYqX4IKtoHoQda5D1C9jXFOYPDxe1+ki3ZXyr5D4i2s/ywW5vwd7Dobyv8IIuboOpdplCGaPUjdD+fFpjI95yFY12HpTLzacLFowApN3Dui0AwYaZKuIUwWRBgW8vpCA1wm7qu9EWKHW/urrM65Gp0uEzWFbEoE5PzJGsarZSqkQs75MluWOaVDqI6zi8RhxXwIzNRY0TSzAZJyR8tlKgDED9XvQKyn0vasQ6RWFCnRpNGNQQTIibDXxQGTdDB2szE5fFWaPwFbeVhbmuCemd0coC3TKqG6lKJsZOL2dVDS63KVK4QlA80Gh21c9DiAdw4HlwMjCyElRoMfDC1wmP1uUk+ggmbu0l5cx9UlWNDi0wc4XatFuBJaXTQes8zqkyFKiNafCqJe+YPj0asUED2GF9eJr4SvSTPCTCGsVbdKs7T+Ya2dQ9RhKx+iLxdk6/cso6TpTuqygbYaihSaE+i2BO26i4Zjjt7pfwOAlBiKfpkDZvOMMgqPZJVVh+CxW5H1AmARzCcVDfq/JAz6rcfLMmVFqSu3P1MUSmy6xECWTWEoAaTWgavnCkVY2lSqwHPn/tNyyRaUaDdmJdeV8lJRPMH4sf8i89jytYAuJHgSB/lJPnyaqTugiHArRlGfWSPyIMqORcPfgQbmjklepN52K1/63kAiN3iv5x2kLw8TI+LJqwZ7IIObXNSF83XL+zxXnZcab/PyWb/4wvIwabbdok4QH2XurevsdFRc+2hGZPle1Kbxlv9Z4hYe5mL24AVXVBVhAVTXoau9KozkU0tDtP0EElUHz0TuA7eG55XccGyiLh7jcrCdiWzi4BPXCrqatsHMPhBns/71BkZpd0LDsS4JI6ksklLXIt7dBA9chHlYa6lDIrk59ZQnX9j6RKcSQFQiOgYfMosQ5x6Sj6fU35fNFLzt9WhHKNeQC5IMEBxqo0lQ+EgeEpVbbPnywsVaQoGRbq/vvh8I4PbCFxAif/nHibX/0vSKuSdzQEehEK0acud9TpseIVC36r5vpcxDVPeAIslCdh3h1lwGWiSn3eTJxjlfqvfX56wfEEyquFWnip6spnTFzeVo4T6YAZYL3VdUtLMKRqbYZrqT7j0i1ZB7t/EeCH8lvsAJjO0zHIcwqpbw6d6JKeef2NDoRIy524BrAZA1rHEu0568r4gSGHK4L6lYlxPvcZx6EoRUzMtbhZaeRWgub5eMA5FTmt5qMebTZg/BQpjwC6WRk2dGmprFSbckXU3JLZOMzeyHFY7Uf5poXBeukwBtUchFkfoWkvo7SOYWTE7EXfKzJTluncUdgTUmajMCYgIrswN85xRYKiKxfU5lN8Bo2699oKflh6i1czC3CCZzYzMMZzYBDgtx9QzuPMfCXQM5oDQ1vEgzvlD7dC5E4s3evczSb5ld+lXr0rcCD5zT+QKGCfvXoKEDDrwSEjFiGrgwNOlvy+gn5fZlJMPYd6nUwdQrZUhnnTZbapM1KjqYtUPLF5Qld77VXwcaGKWYsARDQD2u+OWb+3v9fGEuTlwG9IIwoKaTAUAmZEvEfnYcDFtF+K45VfLNGv8qCmWPtax3nLErUeOXJ2LIQPd9B2Y9jP2h6jkjRmvKCcLfeUxQCPO8XWIMSCq6uWw5elCp8CwxJfIEzdJEIKMWOBsVI3ZsDPL8MayaE376ttqCPedMGBWMtLeaHu/yat7LtwtqNQFHJabmMaCIV3SE10am3rxh+g051anmpcRWtHhtlqlIfPdnVNT4WSoYpn88fCSeBEHTg1S5OyhrVixyOXQTXQVdsZqFWO/vE2I0OT2Q+WCYvWHCtF3mt1OjUYh2eqAoLJ8QlK4NEcfAtfUmJnj9v5K4RXpLAVvM7MgpPqgcXTv6xriZL/QjOUAmdczCFcoHbYV3zzqAxHxpZ/k/X7dKDa4ZE9K63Qfv3qNV2Zv6JHGRwute4NI9kqNQtAaVd2PIh6olGukPw4PwwAzm2IfhQ4ZNxTadGjOsG0bVAv9gWqYDWHEZfE1f2FIkxwbNL0rVRSWLjBWit45tC4+o7B1/kwStw595AiidrMC98y0NveZqn23CMtyf0E4MJZvbaVbT9xnwi9j/rdR+ob3S6mHuUgJK4H0ypHXKwvH/pEA1TNgFVZ7OKJ8h+dTJOfQrSDzrsrLlhOvhbfK4D9Bt5w00AhWEzSY/TgLQllkidM0wWqIvGdfsZwRg2IvUv4zLAWLwepBccfnyifMf4jPBRQ0XIOvoOwB5OoPyb4HQyO/ZbHgCyOecFMNlS1zSXcCZc0ZzdHzpa5wxyvqCQ4/wSW5mAWTjrkxLC6lak4HGA0f74tCMWFLidFN1KuXIHkKRfhsBBY92fr1+OxrA3nh7kqBAdYieAvUb8aBYzAZAE02PLsqOX1NjrARqgXyw35jIzkKBEjC7tDcVl24icn/od3ecrbIa9L5UrT1cdg3YWt24CWngq9lBlPQ85Xx5HzdnIWSTRCH/B+JrehtD6CcirlHwJCnVgXhSJ0iTZy1FEwkgJPUGTA4vmmbju+jop/v97PqfSs1bOl9B+xVJg5MchrPOP9yoc7T+F27KxhYCrTF+daysbQeh+ljI29BZJfsoNpynZ5+9cKGf1Bubd4A3dvNp9I4oEZ7Yq7n/HCvkXWu4jg0IFH6f4Fe5yOP3X5pTn9wdN76XjpWrpctx7FWOJCGfVdf2fdnh24miBp4LyPYeMwx4RIHJ2Ar4CpyeMB8BgEbd2t5RCVoGKW88A4MfrAPUjMIv920efkkdq9anrXtWCux2rOP+UZCiCPveB1SB1PeXBr1V7AP8WbkGbYgt/A7e7UEmEVmaE32svJnTveXzJH9Li7eJz2MJx4tsqK4ieBIJQmGpQUodfc6xEyibCz1FFHymB2k2lijq02Xgfxrh4kkz9z+PDQu5MFGypszVpCytlWkrN/87DeT6FYKydJFEuX2xqGs4RGp6v5veGPPgImx08W22WmeRD3ZezPekr++xtuUuZQhjaOBbC/KL7etze/x07GlL8l35jMDQ5govYJj01pHK2n4awPa9RKqAfBbZMpWlhowNzxXJm0v3o67CG73ocoGuEv1pKP+YmycokluNfIjx54S7GNw+EQq7CY+3YHgtlTZcl4/621WNDjSJb3mjPix9BFyF0TrHkoh7QrI1fz7S3tmG6b6S8oDTtFuPAxRsHWIu1PhrX4Wpxe+ClLqxKDuWohh00x0tUE58ebrrcm0ejDlABZxUsCt6eePDogdCKo0FdHs6/pgDDoO7YuYuUbyt+3Q8liXbf/Ub+SXBRofrhHMy4GEZLPafajDk4ppzMKd4SxWzKs9jR9wNYwYIhWejMNIK/5TQMFcyUWBITjnKYwWP8+pPlwhyf4Z5nVWelFgi8YzRAdJDhT32RJStJPL+FZmYZ4ph1CvmvkDMH2m3Bm4gCFgwf0uqO9XqLGIbZE2P5/PHy+7ZfROi75Z/ufY/JCao6XRnd8Qt7BjqJEFIQq0a4DcasrSJJD+JEhsz2NWUzqE/xZ2zgW+1GfDe+gEcgXWDLU7Vc2mBygiCP4NaRyTGI5l0tV7kQ1NJ1GGupS1BUSL1Rq6LZ2Y6ErU2a+JG3hlllXwzb5WL9xHD27TPQ+HCYCvTA6BPAyN3qJR7mRtRcysIpv/Z4EHqkttRNpMZvKhl6xHDr3OJHr7ze4FoPnMn6+2RB824lILJmgKHgwF3uuAWy5LjxykSReCpoJnHFGKHgFX8OtJK2rlFI6A7ngCtNEJYoxPsO5UT8rQcSWEvz0mH2qZYo7x0k+f/WmpDcWLlt7B6lr/Nt0ckbJOu5rqob3jcrNmSgiK9ComR3rC3np0IqtHgtc+6C+xU4xqPxW6k7qJSHZ9kAmH0UqSYGXLq4KiOoPhl50aK84Rrk8p0OgPipXwJrGQ3wUGqAmqddlpjwYpGrN9/GGD6SjXaWXp3+HH5lghahntZxRacYNdlgU/u7RJuEAG+czJDNP0jvStrOIA6T87/gdKfJegACnTjCtxEwWG2TKmGGe+hoR49qFGYExHSd6T+dsn6txHdyOq8P6FZNV6zFDGdz7cIgfaSpIYrDnM7AYaKvCB3+GHVRQ553TwsCT33lsYC/nOXDvN7llg7ozqkojZVcnDxZPl88tDfwGc0kdQUFAucG2Lbu91eSRPDuGbeuhlGNm9XFAxhni8At3dSnUfdtC4XKCeQqp4vQub+D7DxehSzOeBAPdXjXruK3vG2+lleC16i8Q6SMYiQ/K2DPCaviBiyGcLvSso6qv8AxMqiEi4HyYzLC/mqlAAkRnqo5Xvgp9IGnPDl/QXQDErfeVcgeUF6td3GLGvFPkJNwgo60Sy0O4SL16qH9vphxjJycqQ8dIUvq7/jCTYgQl+AiM7L5TFIETND4l8YnjXNXrhEAIP8boECb6yWLmROq/BnsG4KPbu2JZKDCQfbbJ+DAFi4BZ36v0bxurj29xW4E2FriK5iGfnA5/KV7J8ZDESKwcmC+5TQL7nJZBzcErj6GvKrAOUvklTLqz4PtZOy7e76IWmE9+wq4UMNYpFg9fO3cN849CJ9RVu5374qXanOxztyfXjmzM1zQ5z77j4AtI45ORqSZGKpRQTHWzF+Ae8EX72xTKO3vXYV8QU8ME05k8plA6LMOdm3asZ6DgBWY/unwyNjzTa0IGqPdmuTUhd250iMyByOeNP5QRnYZEZkib/j2JipjrcgGN9ucqtS/vHm6TLwURjMlZ3p21DntGfFafj+cnGA3ed7H+PzeuxGUnKmuWyKBrcG/HiGwuyLZ1LvbdsTOsqhsFOdhQCu3Ifq49Ed71GWPD1C7KvUtt430a/hVXUA/hL3C62Zu8+LrC60eIBLaTJzhXbLk8YMuvfnN2F2o/AV9QsAySLf0LqXMvTJKFlK2+RsJjCDkjCFHGCVOoiweonVw47IGReELudsPCMH4FngR62UzWuIwDOKVZuotCBmk3VCMrpQ3BV6X9OcgQ1N/93aumoM9tajQBXzIj+5eT26W3p+2YmudTKzKESfiQPMfu1dVNEuU5+oUHbtGuwo0NMpfx58Ivkjy1BVA4N3V+6UE0aDHtozc9vxpBCdvQ63EBGEcwMX3OXVjEXQXZqVg8zDkZD7cc2Rz+DmyMidw6vjygDmurnDtU6CG1yz/d1wrZjf/En7B/8NtBP2+4kUPTVOCtybV2/vlAMuxhD0v2BvXwDPZMCFP+CCCRRETpKWYxLxHpuLVuf5DeUuqB7po4q+bfpWa4wIPcvZpWgj6BMtAAAkZl1Mczt37DbUOX3zOPTr05mMt5ylc3XjCx96KjlkmkH+QQCN1DxAX1AuqMONo8YiwM7NauYXx3Ido9Nhxq4YH8LS1dldDIWLtVTpMTSeyk0sIbRHcahgodv1NaCs8L2BlL87qLfSJ5AX1BwcnvETeg+tD2G0L71JaFZwQafV7LOa0K90581kuv6Z8Ht8e+gFdZVMzRU/cihSAiBpWXH8v7wXz9qDmf5V3F7d0aMElqI63boJURmBdZ5g+fQnBtLs0L2LcdKBOu44dGAJtj7aB/G9quueCqazLobJGA+gfDWCpiP/+dndAekz6QgrCGmiO4X7Y0r7TTeEZUJ+mCgP/QOfv93PzZK1pvLr2by5MXqZYxRUb44WU3B0e7eyxPMxJttNLVbjqUI9IwUTtUN5IuuLFSAfj66mgFueNguz71g7494qwxZnd1uN2HlOHrc6NPpVSEpP4Z7cevsjHLP1Q0lzMCWss1caMMYh6gKLgZgnxejMcT0kJ+HpduCocbG/WVvazzKZDKCPirm7AAQkxVqM1KMMLmgDpZsljceVyjMSGEq2lUAJVZQrVhRAGg4TTt/kpiVlOcdIzW63Zp0DNOURybHZseeHk60/fnK5f7RbwrBFhNTi6p2Okzeym24m0dKOLaMcXKdIWbsGctQBsHq7N5ac7jQKJEY8ejIRpGdUEeF3AWpQuGMT3cAtWQ/D66Y5phWjtHvvSqLg9c+nFrko9OhDsMQrjw6N96TI7VxsJE5YECYmV3zfxmKYBu93pLUBzt3XCyGJIBULFd2UL70r7BeEk2v32HskEhDKe9xwSM1JggJksviyhRhXT5QmSFXz/5oUHedYmqU9bT71WAiYQGdiJYyxJPci4Ux5UoUrkvtuemMmpwPbpDNbZ8D7vMsul5I+gOlkTB0Cog2X2Fu1eYXi+AqjzZV4nDbgK4bVLb7v935amcl7TUhpPpL3jeDR5Fh6TK/Ee9ZxMdxg5UnAPFvktkWabrYMuoalQRUGbhNZc2EMSRQ3LvreDwA7iKrCBIT9gKzjQaWVPLStzaCabYMHNkVlLJ5XfEiBqUV0PrhnD8d6Vg6ER49a7inWc3UF6EqJPLuotrIpO9RmEHm6Cc9cD2WN5Wvy9QJPQbI/sk+rASphwR4x93WOX15Pbq+Ejud5nnqVd8FguJP1akXHELH8+OUrPO3dhgt+r9apiVi/Woy/pKgfn0KbLUeC3HxUPGPu46YCbNqWw0efgv+ia0rXrK7oTRIyV9GbNUn27WTF6aOS7Dyf2V4yJNBjyaXnzjPDsfrIWPQGBCNe7Op6a2BvfsrVOquxBW634K6XRCY8tv2bSXzAZxxYfp5OJKf3vFUyO9hqa04+QrVJut7GAXGEtCel+h0l6trXxG3lWJcc7ZsGmBnJ5kDOdHYCqaf5LdI9CIjZxIVI7JOh3gqH/1bh/OOwGMws/232fRsGVDOWxbz8bMUs3VgspcjcO3Yd0Kwb695aAqCUjh28XFTL4X/rCt57Pv+wgHC5CEW4KjRaw9FRym202E19s+HdHjBZ+aDGI5/mW/RGRPRYlkMhfDWM2Iz393mqoKcmT2cFqokayI0VF8zJFeR7Hu+Pcq0wS+ZCBoiUqnO1a6+kJs6rRwSogAkuehAM2i5N+qTjVZIMPjeKq26kh119bRf/dOJP9qJCa6d5bP7btz9CJndeJky6/H5QwvXD0uLvAXFs/CmvUBsW3JNdweoLcpvBna6toENn53EXfEGEY+Q2mpHMNbf8GClOZCSsouy2LeFm8YXAmOBxdHD+llOArWNPD/YioAzDEA3MAHg8pkbwcGftDpwHUeYkKBLGb86+W7AZBNtjJ9bPxfUcNO/36e4oNAGH8a4SDayD0nDkUAja6ZlNk4EoDKoCSCix3KK15vd2Uf25GLLu/rzVnhZosGBVCpR9p7PNoNTCnrkq2KacY19+hO+7q9cWgCPMYc5XpGpI4j+sCDJKPm+m/eVo/jjnr9bmkeBK2BErgekDajY/Y9mWLpdFCy0ai6QdWOX/W8QLjBwEoPuchT42ZbxnSpaC8X3W3AGDg1thoioxInR1zdn041C+MM9AO8AkzkWLTbSCDGEawhDnS7fGgIm+7lNtmY+W73VJSzwZmMnMubSle4HoT66ztmpaLXwAPh4AAQx15LYx976guGJ4/t6CVNVp9uXO/sh1nQ+yitp0xTGXo1Ip4MFXcwcaZHzgUA0UABXsVkzYeWSzzLiOp7KDtHz5eRvAamIHnBsJ9t2A7qMkunk8u5oMTGIYwxVvVwbZJco17zVzXAbo8bauFMqtyvYq7H73/X/cI+dLYsfE1SwAecHzEjw2QmYUJ85jKy8BN9Q+unD48YmqBjXsEPs/RTFuRVVxs2ql5nskQYWCI2b3qucRvs5HXgW/7sewXO5FKLtRot9pYD+qy2yBVUBZAkYCXCD0t147kWXTziDVWlzuRu0RZPVyg8dxMz+DrgxJ54/ho3UcHP3v9KcStZYk1fGxap17TXHTUaEmO1VfDXNbFHpZl3rpq4YXB3LS+amj53iCjwVQgapcVbQx8xu8f+iKLJVrp0tgHVuYndIPXvM1d2x0HPjCcyqIwQZyrTQ1KK1y4oQRSMiShSfmUH/rMN5Us6yd4nyaFYHCwxFKA8Oq04RNQjeTPvjXL18kuj8E77qDs0+tMITu8CjNZZJWrAWocb+2TIUhRZ21CNQ4+aBCpqyjOM2RaiUsddNboDevtGKPmHvGaZ5yrble87KPZT9bj6axZ8Gg/ak75WC0uG2RKEDymAJcmOMlJiuLbYiWmAFnIuVOkzVJwswBWa383S1tmKcUxiOcMrSlOeWCDGzJmmXFnYUBkeyiaTNqwUVomwt0h09bgSfip3cml4okg8wbIVPgw1ZlkkvLYDQNjJj/8ns8xOslxti9ky9DaqqtVLB9jumsXWuJmm5qryxBfWqzewBkCo+fmdt4MztRom92CFsAsLA3YQ0Vdk/dGIVDAstOnwWJTB6N2J3CLcQGQL0YR+tJAt5i1PpKECIwSRyAE68hM+ECsryyQ+nNsuOgfnLF1YV6PWWz5+FcYuGzqaj6aIPVyIKSeaQJtnvVLlpEy+bS2wYyB7OPqc4gSnHIcsnMqvZtYS7Tl11U4utwlwPcFy1RVrtdSZwO9qaPmVKehCPsRJyEujwwFgA2wLjsKdXZBwGJ5d4CnzE4wwInPB+iKCZrgJuWlNRhG1a8XOO5sciaHIVISQe1ibe4dkfITguzKdWSMowhKnOWQgayqeN3mjnYFULvGgL8Srd0Ha2743H7GMO/mE0dDLAvph5RDbw68ae7IvwqqXxAHKUTN1epa9GbP7VoOQ9vY3rXrNGZDqJ4W+xU6/zq8yW0dltM8X7sFj4atvJZkeSRqPSpLrNvjEY00Zc77Fzc8iKdGBZfwrpyfYCIYEHXArrLfJ1gpFioCvzhRj8RFRdE3mpvGybjstOBDGfZqqXFmKAQro4v6SrXTu8yUWJnCQk4m39a+fexcQd6+eZ92j+bNCPZHbl3ctXU2DXQaPuEQA6nLYql4tMQH0px/W4A3Z1tpudbgEe/QuJnAbTbUV93BzM0CyBHl3iirOvmDpLFtM63CFch6cb1jogHdmu8txnSQGNqygxTyOzoMWPdEVNxmV1mJSy7szXgQT8QzCpzm3QnNAkKwxVNeUkJeq5LtKcskX0cx5IvzEqG0RV7i6jJVXKaM21km2j1VSATPE0itt9OqQY8BylvEhlQW51fsF+BTM0QIwHRqO9YKxwDnRjzafirtbSQuEouaV/ZtHDfmxQUl4FgYb9gApr7Dzx+p63p+QcIo+E6CnIGePceEY3RfBGNrLu1wfPLuLHWdaEvidOYe6QfQzKO+e9332z4zzcKyB/TNSbiFT/EHo/oZx8AOjXW+d3caUV5sFs5vY0+czABcyWS/uqC8O6t6nUlHxNLI8G5qBrqjg7lVvVk5CAkkVPe8HfI1knZkjmjyIsYee9nWrsQ2244v4fhqKy9xX5Zgw1GWs7SY2wIqGpWmnX6Fjknvvmg7k+ZXOhS9yRhP/aKmtrZIYmdGZCY6MM7/kYKdScOWgB+RQ1tyXtOgv5EXxcwsyIvGN8YdMCQCb93bRo1H8LcC/5LtSmuQh/UH273Vil57qi2x1LiIoh/etaDD17jStu1r4bNOxcX2wfXlEcLJZEG6qkZxNQ9vU9SXF6URPQplzbdK1fD4j0dTqs2mvFrm8ky56g5zHo3o7FBpSMzL1KmTe+tfNJJ/IqPjPiH721V1SowtPXhDE74/HXTJP8mauwbzGxKyx22Rw2MzZM5Rh1S/gte1vO//HWIShnucXDhEc4aCGOxGoup69GZHG4UWSTBWNDfvBp93mU7FLKZJr22oEUK7KKRWUS+sh3PNi56p1dIxrUMAm/bl1CyxgfT3kT1NIymyP0Gi9Nx6V3raqUjKawVBAcx/mNIYPBAifh1b0O3k5tMBbtWluUQ94c9NAIYtBDEjmXfFitchkcMvIRxautlmv/gGMzl+Xf5Wtjc7hpUDAHPBqgH3d2bX8gHSZZYafLtSp4UWxXESMIxY7AW37K0iZeUSE/V4A7GSuJ8s8+F7iNEWK5vSUgZhlQRZ/nAwRYzcN8cco4ul2zogNJdQSCQNQ130GCjstFlPGzBhN96ACRxlexZuI1wMLgPGejj9PS+Mn8F8aEXsoYv7n0H/J5v0+R1F3YTd9M4H/Limn++O2Cd8RT+S/+o04M1hVE8byvIp4VN9c9+LNtrl4AwbqDT0G1aE8t+Z4HZexjKE0a9fywCG+8WHHIAl7NHZUlPyLIw+vOcgC8s3VDREJ/udsFOw61OncQKlLD9s9GgesbD+DVIZNnI1uqfFYVrQc6r610lTlAVQkCaqMqxjQVpHzuHdKNeFHMFtadNo/Ge9iSudq39kBNj6Gfs+G57oslBQ3GIK65bxupUdCTrQ8tkXLByDEaT6ziutB12enzZq8D2POJECW0uRxujmcESnReES6MdtmwTKLqNG8/wykDAZwTaOFhinWDBbaKCNzxFTLDm5agqk+qHf/OYAUQdNdFrVZ8WzIAsPJG/DZZI+46GGN9PHhnvTf4OdMKiL9It1kd/1YdhqUeMQ9osxxy/4OaaDhhDtsqp438AiRFslE25o2VINBfIFPoxcayTofM9hzdO8xXdhz4GS9CGtFbuPyvFCyhdRAGPrRC6es7dkWZ5bilU5BGDn/5XsbjGnBF9u3MI7Ko9y5BPU0KpvHAeYYRQfkFLwPO6TUysLB4AZNJCQLJr0h/wkIbo+ct4gq3pxJ/GIiBLxo95IKK1D4eZBY7jF/m/iryrWK9FL5HxMu5d9xt5Izay9UoqgJEbh+LBKDPsHRZ8AWGuIoysiE9luP1hFljhYUnOz1JpvdAr1X6CJBs7wco3zPIviO3xB10ae9Rk/C7SjUSEfmEY1xvatk1sZj5K261dKnObU3pS94Lboy88vOOXRrtzI/HGFiA4nhQand06hd2fLL8pbwQW0T51ayccepiwUtS/NYoqqOiZ/svSMR5NyRcSvpZIOjreGLAvslPQdCpfjGf1d4BwynNZxvUU9WOPOL5x9miqhEfwiTTqbYOgtOIDbTiWFBPDIpfcbMqt6h3NijAeLFsCJTI0N/Q9k2jSC51PAnhUK6d67DV4bBuxJVEMXMEsU/ZgEJgFajAWpWpokUOWgPnDyJycuuwGyKPsYA4H9AJaGi4dfMr2JnPdYElqeb+2pFzVYIFaUVJg37bagGJJJBxDcu0PLJef6Ft7Lq3ccUdAwYIviCYo1J2nzEcx8mvPLHWDB/2JiZogsF5FdNi4Fx55HXHvbtc1excACfqWhpbqf5S8GzVcwNOFIBuNkxoPEQb/BhNRKEVhNVlm5PAkS5OzARP0Vna7y83xfHHkySK9RejFECvQ1VEnOEhksMjoUlU962ogfy+47OUGEjTZ6PhuxtHzJmhyxpV5rO4FxCZtE32A95Gj1Dl6JNshMxfB45VyVVfQFZVtUa1WBY5yPnW/PAPpXp9P/h5y44m3gZsW6s94imLMkc/GKZ4KJHKhcgvo0LnHcayV0x4GdQ3dzzQde6hpY/XwcGN6CzZEorgIHxX9CknW8UfTpnge0NDzb6tfxa17Sp4HvpA/zZR3Y8tKlALUcL25AAY7pTuFdUFpHUTezmFG/Ui6t8i300xkj4S1DcBzXkYou+3RIbPbd3yHHzkrbfR6j7+lmGbwsbh61Zfm3s4cbAFCjeiOewF0VGvExva8yKd5q3Yru/WunMOkm973FOgzg8yb/i/pDRGh+3tEzeTElDq6eD05+l+s1g5MBaFdf1eRqoJ7hDrhvN9fqTwRv0CTryjxRQAUXkQF76rj6eLfHAEpuXb3jnbO6KxQeYcmG5fF0FpHGnXoDkhssc8gnLmT4vhavC4of4rSNkCAte5skrzHBWS1SrqG8q3zN9YXkl8DSwFcODVFoHrOy/p32NswED+rJeSGBMrzHxM8d/s27cGKigsPmTTm8f0hjIQ/XptIZ90nBQVMAjeiEbutvzYOdvtv6ReUxSmMixIYwXg/Fe/siOVyGhs42341zdALNAmeO9XGuCTst9lYIqMo7YqeVyvt/9TVYMfplZhN+o9uTN/XmxpdzJOngXsLniHCaMMC6fOcNA0TJiLqYNQDHR0suGD/Ia6MRtbD8q3S/oD15M4ZbT0nEot94BpjD+/Y02J/2Wip3jIgMzsVuHr2vpG4isLdY8p8M1XOLODqSyKcwq/MLnxZuaxXYaowluO0p7h9eBc64ElZlJU160pubyO3EUT/NvqQAPA2ieuyKhXiCZBQtr4lECHt1BPcTlBtqEaZHXuuHUyqMqQtZgRVpYl8S2e3nr5HpoxsR/yf1fvSN8v3IBEhQDx6R7KgIlZecCHUgBzLUnXETHpdMyHeUisC9SxoTaoLHcA41D7qbKxgyGne+iBBElr/fEjd4k7Z7fbQOPZ2pkb2lWphPRxTQ2Uhm4Ccg5SppXQnKwGFfkA447ArvRIb+H5s3YNukaPcRdW0mgzRBYs4wq4MsnSyHunQp8HWC0rrIDrQyIy2Tr+2hkwSzkmmHojyYzZliH2oXSEDBcdgwN4C/AnjOCBdTPyQo7LvoVU0tMYogLy8Tmb8ssAZpMtUuvRMkTq0ZKKFR/IL7TEOsEiqJ6P7gdN846TzP6Ni4hojF/YrvpY5g/Ppy2o/zG8FujSFY/LfJWgdnnSVL1RB7Z7x2MABzBmKT89VNuRoBpAHF/yZzZy7gDxYOGk2PpH3HqCyhaMBvwkJc6eqdq9pILx1SdXnP2hFiPi0TeNi+wpJ14sw7g+bmEW7PU2Is8kHWULKC+jay5qvMKsZy0hDWRZgpAELLL2pdwIcHO4fTBUEgAd1PYxM+bTeZSMwmknGpoDX+xSY6y8XEvbWT3NJ9PHcSaig37POFy7vQNFfXm3Ugzg6W0thHltDRGaKtnk23a+zhW2JTjoEZGCrDGP2yWO285G2mMSuSfSFQb1/51W3+Atm+v0uQ2JE6JqnFXXcR0ER6IlTVORK1xxvamsB1mNk+7UhyqEzmHe3ZG9M1K4TAdm6X4yhS8T77A6OYdrkVu0juQdTiyqLRFixF/fSGEtnsxLrwAD6Op0L+ZEnuklkJcUez7QxEVxw7kBOLnIGM1D5SBZLjZZzoMkMivGgaIuEmyFzejpz/eE2CSUnGRpeECUQerAD3nfmsf3i53BwejNoWovBtwVCcNvLoTcnH11RgO80TpyleT+05UBaFlOAueFau7VkctgHxmLXwwaOTWY0UhIp/IPoQgzB8ooogsO3pFqKSD4O7wGTCowPQCA1sQX6SGI5OqixuhktdVKSUgNWOb5s0GEy6HccTROaNUdWnaE4aXKMCHc74AeCQWL2HHhxuzBXq8fMOhgtV7WcTVOiOI8JRgD2meBTsKY3LQ/WQo/XmEH9+IqXWudAGAYvH43gLMCJlqHjZmygxz1O0eH9Bf/ZeKg1Ak40xAkZshjG7RbzQO/ty4bhSGHfDfGJJZmB8s4YdcA8PlDWNOTCG2XqX6WhkcKGeKxlcixtu0F5TiABqDxw8leghpcBZQT784w258ByF9upPMvI4BH+bi1FfZlsgsJltf8kRi2fwIAkNrp8C9bwoJQSwxMvRnTGEzuFY7Lft6Saq+a7F68DLOvMVEVARurXaUyXPofyd6aF/GuZy7ZBd3i4deLn29Z94OkG2xLtsEOAEA5HG4dlDxoOrEUqRY2zIyWIsEJBVwM9DQ6DUuAKHKqT620sJlLsOsCO5J2IYCdS1HXLRF5wIEuYewFbjlTqu1dHf8xLTToWHnuqC4q4lDEhLNqnirS/TZuvgs6r3/IIvND/53FcMl+LBl+hH0aLoHhJCnOOlrGYQVwPSN0KJ+ZdGMZaJr9085I9yXfn1fd9KQ0dMR+to4Ywq5P4GVOVcux0Fz/4dXpAvSnAUK2tlKjhkzhLa6i4svR8xIz9a6bcwG+Q8cyjnlBKSVtv43qvC4DM5uijh1pO1aw6ozLP8zgRBiGWGKCt+Kt2ekoQOLib5mkzNlhD2UmD5ycqwKf2HS7WZ3J1H4o5h4lKz+9R/UNaYG1aIVF3X1jZrvBPc0I2KT1Dq+VnSzNa7FiXbaq9uCyiS/3J2tD+ocs4fpcqB9FTYBB5aEB9drdzy+PjxURMlI0cpniKor/vyreYSngi51oRcOydS52dXHbVJCFCsN9SFGwkOIU8+6mq8VIpkt6ST0+8demeuj2QXoRWdBLOLK4gp3Y9psC2pTVQRdf5bpbWIk3Br+8l4EKgScazIirc1MnUTMQlLsB80/6NT2zFPOnzmvQwqEkIeD1+ZaeTryyLs9in1jyIbyzVsmzZAxcsVt1gIAvu+66KYJp05c3+weOUs2oJBs4t2Y7evqohWkwQWt9X8rr5cMMCsBoEDISaU9s6AjhzG0Nf/Iu0d5uXhFKzQb0aRbk7E201tB8sOd3ri2KnFb0PfNmEH0JX6DKMwg1+cLMLO4Cgdflrwcg8dghwpBVZ37sx5HZQoD/cXmuXpVEVRTo0aY6FnYqT9jpwRSfoYdRWXfM+8r/ybKQD56wHxgnf1vChUilw1361nhneb9R5U9ioeH+hVIiTdP6z7Uwn4aCvdPNV6UCsuT0xFWG/a6mdOHimHmytmD/1TxlmYFD72RAuQVHcwuFd5nbnlpXKWAvIbLbesB97bCjrEJX27wxjRgdqRjhEcpEElpTDsCg7Qd00iRCjOWlbM4PKYlJP7HWhw0r19JqViEL6sxcvXskPkiVLEDHxC1ro714BK0/Sc2eacrARKrcPuX3PgUTY0jETOnhfXqiSwcqySczfp8ur4050d0T0Gm+MICSB0q1+ULGQYHManFY6pM5BX8KaUKzWB8jSVFPHaIXviWZjfY+FYRkzDSoEM3aRf5TtWGRDtCD9qm6f2TZolH6H659h9koqMZLYCbATzwuF7fYHp7ZtRgxJlJnWmo79zEFnn/s0z/UGbUfI9pfcTcgyd9zRhbOilZqcTW7zh9vwj98TrD3qT7zw+AzagnmouqxZG6YyyDEPzONfBvUByZHjvZ15RoJFDn2c9XDExDNqvZP1nQtI45cxeSKtD2fu+2CdIHHWVIrOOAoIPW/nQZrej97nhcCVXgX5BFEfsznCG7hX2So9H5jD5vN9MWr6F0LA8htG+ZqBTFjrimwvAdfB1lnQGh+pKg6E9HH3OkbQwz9Qdzv5MQtsXkFli1zZPTZSEOoekcSZ87Ezc49yoH8KANa708GFn+dMhByu+MTuyWQsmwTPKneCEsTTtM84zMZoktGYeDd0pyZdMaXdIkEyOEVPhACejLo1oX/8ooNqxGzl1WEb+18/aJQzkb9bUhKJ+0GiDcjRkDMatFONZlSspUXFjDwhQMKAWisdWiWn3szas55XzmFBXkSNcbj8uMNxTWzbL40EqwnAna4ggc6dk6rASolhpVcLEyTpJ0bPyURvsndUdDLWqghwS8+ttEhc5pMC9jVYJ26M37t89z3KUURGMpV5Gr8q3xmqppUajC1mhIfBISy9TEgpisZjyMJbpWXrND1vcKWlrThs/k4uIQpe2ujz2go5r2psdBGlIoSu91PVh0y3qpgua/nhbggFtuVoVaUrj+fNF0GfJaJzVH58wj8in+N8gRSZFlH4QBozlvLj4zH7kRFl7zSk7L2NysltP04gM+qshCB+9//hmwPrnxyGEEqcJLytMPKSyLteWeEndZSGEKGpJA1YGoKVCtJS8oowfsdb0nfs/G3FK0fgvfK1R9iYGFVrbTx/NGKwMBWbzm4TQxefLy175Xbb25CxhD2kW+So80+Plo5Q8c59QLUMAySgOpLN+Sq5PvqxHwylle9EjD7J0/RGsSPGLE8Nt6A5ZmmA2T+VBe/7FTqvu+AU0Som3/TdFyJsEhGmj2mhPGqcxXi+Di6hvIF9YdVyImMflsi3zAY+1BWzWt9pvGyuZTVh9p4Sng2HiudE9gYhqXufCfKbDcgn7If99Xf4ALrXDURZOu+iz9PzbekqxZN8HKbSMgEt+YdnQvwBwzbtkS3JK8G0WL33exRhhwBDlTO4s/qtxUbMEvSOzj9gE/eU8wbeI5ShMkGIoswTDw8eNR7ky+be3rXm4UQOC8tLEh/7W3h2unwDb2akt11Ir3jhVNCI+tX7RHq7/YqUoBRb5hwlW8CKt+NaHsmJx+cLYIb/fBRdRojw8RDZPmAIOpGXrclVVw58Swr/i3KYDo8I6zMbT8qBEm/OXynkL0z0g6K7iQvuIM04jlpFg48SdCCg2WnXGNQNNyZY/14Q1pVSR+fDsLmP7+Nli5/AvVwfnK+P0Jtf3ck/+QfWhrn8HqXIhN2vvOo8VfQNOczBuvjCsMt23BdU8lbzpja0v5RjB+u0T3D5fMf4h1GRP5OvAAoOpjv1qVIT9j3ugXslDaMWWFmGdn/c1bg2/omFTesbvMCbLEOMrOxe3IcZpxeKt2IuVORJSnDi+cpy45YStei4wKGYJn0JFKgNzn+sMJD/5kAYSvYB8+s0BVA8IQm9LkJwSKOH1IapGTZAsn9wj+96Er7+rV3HXblKH9ifjC+AmFy7r72se9IvolF6iK/G9jeC6c6It0+wg4n6K0a1yQ0iF/To5bBRjb3IxVkNimU30gv8KUc/FXMVo/4U6AgINya3MY/S4b1M/6da0VrliHIkPhbrU7GAmRqfkW6ZsnAOzaTNh0FppRMxkwk1KogcDxdzJ7eLsr79/DMLXFxCkfX4Srr6lAZikp3le50T7ZriivlPUNSXtVlO15p9HolAJl+51TGXxa65Wuy8PLtu2mmkaQttMVSdruHYc3OUHujGrlv4i+pILGebba9fknxm/iJOzGJl6vRo9fLo+nt4S2kpx3AX02SgqbgNq0OiKwEs9XvLVX1+lUHGok7oEZEj+bu0b+8+lBaRn2VC2Fn+wAqUsSIbaOPE50UFyH4wNe+IatkcuNcMA52QopZ2miFQKmT115BJt2/ai1f+zNaAEVJ2Dun5qiI/3DbmY5MAGQX1DRJVAL/un6/0GnU5zZ9WAS0Cwynm5482+4ivk4kKWVq2aTZ7l+snQZSci0sLAWtvkKGl5cNPVjKGUdC8UvQkoTbjkTvq6/NtvCN2zlxGel7jaRSSzWr1p5s2P2XBX+AkxrMWEk1dKohY1dCL5rjpGHCXVowh5yjnRFpTgFrz5JD5+OEsb4Iw08R5KgDNbq8hV+XfVsAot8Vrx2iqtWljjkkEU0NnfpdSKk1YiPAIwhCKbrA0hlId8RyobB5f+TW9QyxXyT79U7ZZqdFY1ouCI8dW8ZFaHFOPqfhTceG/HEJdhnJId3Gv1QOluoQEeM6w4ULGVJijkX6ZShwrRDMwfqNEwEmkr9S7xyfXEFz3k/Ap2fnXcmU9HwDfoXcGW82DBKAqq7TmJcU4EEsPdxBmZsPpcWhfpU3d8K4NIsobv3T/OXs5YdBse8Y+xWqwxmVs/C0ySGjl3i1W1HzUkMBCrPRL181MzSZYEzyEZ34cJs82OTvKwcHZYLYvVaizg0BvK9JNfqiMl6P+HryZN2pVniiM4ikVgRP3I+oC2+X/k4gjK/sLzGz8T/ahI7mulfWtDqt6hVopvZbkHNlogzRXChn/7gQJJ7ozumG6hpLmA6mDe5X49X3DFWBA4SCzDGqpRZa8okbSzZFoV4nlDdVjBIxAmG+o8+JDKgOvFFVxZKPvQ+YxibiO4fnh0jMW33pPHU2LOkE3tcg3fsB+Q9MbolriIcPdxu16yMpiUrbodjCFIN5b0iYrzhFMfO5IciHjE17frruQ5C85O4kWzzAWxT5j9LyJMKHytW9plLzsdRZ9dMuHHTTZkC9MfGoDpPe5sq0bmnlcECBrQa2aT3IaROOnqS2R6LMpW/MLMQ3wP65ir+huZS7MPg4K2wBsXHSlP6LjMoH+GH5BnoJ8oiZSQrDpLeCnyrz7TkKCdvpqphzEIhQddqjIeWeO2KCeZ9kmhjRRH7dcOofCdKx3nP+aL4S5fx+gn9HPCVcGLWL09APmD/ESuOLedXjovSBAf1kdRlTZkcsAxhVBl5IEwqBmgLpnZTlxLDvI3WTUujZislSD480XS8Z7l8YEFRUCoJ5H36y6FOKiYQSNWEhSpDyyP7RJUSaBKZy1tVKaaCp69E0/6OEcxq/gHeKVGRl0e91BS4XgVfTcyNN78+ST0MdSmRgnaNJynuWVz/N3qNtTOSf31nRh/TxcPeq8o6LzaBizD7Agehw+QYaP4B1zhLy7C7ODkCKqP/MZBtb2cApnXBFWZ2n6HWHv1HlQmbqwnCmHZzb4GXGB+F1gpnqL2xWCQqpfFYEQJmCNvlwiTsL+3Ei1AwEK1dtlMZPDG4AxHHdGjJA3ANTjR8RKE3pmr2b2MrZKrAOm0YhZRybvz3sxkxhXnp4604XtJrugam4nlFqGbIzZOOs30DmUEPTFjJ5FPoxpCzkPRW19WePmJPOfGiYXK1i8JBpRlxwLYuqIapbBE4vtXAVbvIWZWKHJSyvQ3dBTQFkIbvuLIpykPBsui7JP+wjbK7Z5D3XC1QOKAVkP1+rQWqwjimu1TrNqMZN8KehIgwNOwHnmrm6sptiJvwr1O77oucz45PXenp23vzSezWc8k3yMRCJj3lDdvq+NXOPkEzkUyYeAkIPl1n5IfVy9zebP7tHRcFTh6Z5i1NQPCpu6TeiU6g5hfKih7RxWgU+8Sy0Ppub2uW1BBYq9qJed5K6K/kGY2vKIYoNNx9DFpDg+6xqIPQPQJ/BDeT32Hi0YaY+ZyE7KYKMdWiils44lC1mRKgDanQHEVyRcfI1UZwPjlQ9aQaRBKG2Q0dyOpljWKqVuOwy5L3iKKJb3XU2CWJBnfKKqn6/unHwbe0aPBnFwpar5O2vEGs+xhb1Svpcu5A8IOuzHFVaO7/TAs7mSe+aI5dK+pXrIQ8koUn1IfE8DU8flaBZ8Oc+oupISBmbDrB1rKlKeYOSYhOEn+2I7B9Fxtc9y2ThqRFmUOTFIMdrNfr9czKOZUxhr3RwIwQkln7PVGRyKNq4CKdj4jDqkPH3xnWCm6/2axUSq9fRufBVKuwSxbaslzXM/DSWhkANFnvqQ61b9V/mbI1qzf7Vqu4JGwtrIY63u+5pyaIc/QR3QlvM8K9WHHorPzIg1gV6U5bO50MeAM2ht8j9A5eUZnHBfpd/RQ0vbedAKFT0Wvf+R3dlpvq5NC5ISD4kjKvjvqJXHJiImwv8CX/aOWTA6GixUiL6DJ7MDIQvfp1imjSA23OD7sSNOoST6iMY6E6gMIQeF2Bd1kRPkyan/ZHKS5a/InUZxZVY2YPsIPTFWU1Q36UGvPv5+jhAjL/8OyBsCnkpfafvLodREyll9tTiLoax2JkorpPsKDYhiiXiqUSGwzZrBQG7TSUUrIHk1Ox1kM77odgXN3S//pI7/01OqcGe9eZq+v4HhMJTeN0XYmbwLPZUnZJ0FSnYqjWKC4wz0YuaX8GV+vQZNIM1VIGykvfnAnyt2hLXKM/PMmEh89ktvN3uj/VgzLdxMXWqVF5mv+7G7G8/f4H5m4i2OIbVAMr5km/IEMTyNS7/lzCVoxCHjh5/HTtracEjHrOqsrTTKOgSXSD4gD/sdJLqChFYlofUUCViy9jWdZUGIdhcSWhWw31L4bxUtl/YlCXG8orD9Zn5SRogKsVtxqEe5cby0PJTAhYM6eRGgO3XTqeuFyMZ5SBlHHg3F5GFhCH5mdI10wlv485xDkgqGeJ+WB0a/IXl4S1pH1h1lTQjofoxiI4iPKMqTYggWK8jfugLQ2suVTmloI1USrQP0NpnGoOJhWbgfXIBPfm4AWQ376t+vesNj2/23gyNVHtcs+WmPqORYSJuVfcCiZ4oKZSBKzieFFHx4zpAhf/Ftynb+9P4qtMHp2vCaCtPqK9Nw7ThwurQAarVxzqbLjr4T7KA8R6jNARAK6YTtmn+AJLpkkmawwMjfOeSW//kfLwW4KC4rUfwUOqbA7hUxKku5Ut5lIlJnDQgGi7E7CRgr2o4Dqe2wQdtA2CBBsa0CQFcBjlKDkzDCR+A/+1syE4YDEoXnDBFg7wyCiUsRdZ9dJbOCfteR56VCd7IRrZ3Rp19IER3A+MTam7Jq42DZ8ygbE4gxJo5qkPfq4gWB0nLS7bveB5CdelByRzoeq1oThYlAanhAqnQOj+8BIZBOUu86QePCnMx31PkLjZMCVlq071XpcnUNbA3WdGck1ma3eJXwCkNIcTIxVkr7pGGLDnhoCsPHEZEe6WJ5H+hdkrW+3EnkLS3I51CIefK6Vpp2dSzGU0hw/9UfoUdNrvkft8SbYXNmSwLEFDfni4AEWiQSlrLePHNBY0R3sMXewOkuUsM+htAtjsSxpQPalDjyMzEzbF5lHPa/MmupjJu4LFX+awfBsV4U6AqnBo/a8vdbadGdkYPuRI2si4JFvcNmoGXRwwMM5Ybu1bEoOiQBRBTg3+LcypNAiH/epckouS848sCUGaUySP7pyOqPPExy5u3axZxsOiQEJ9F527Jg+5cvetOt26EzjbPdV1K2Xr1lFNkfCRgMERW+/zkKVqo/VZb+k1UCCDbZkoIa7jHgYTbI8ByWHN5jXBQljxycO4lyOfk68qoy/uQstX5TnnVjsrPaS4ZD2La0a81TOTef84GbvCsB2qrAVvVVOLMJxnYFK9VbcOcPZZ9OYT4yzrl9JLI2lPhIQgfurrSNMEaaswa2yJlICK9rIc4TErvc/u6PYHZdWb5SYBQFzjgfwjcw3vMIDJCd3GUud4cDPBvjzrDLuJMcI1gqLdRQzYhlaYpslBjY96yJbUHC3NZJFy35C1taxzh2ZRc2F9GGtvd2ub4gGNDLeXtymLLNAGXurUIO5V7p038OYp+JJk37sACAKE4yFuMmnnWf/DVkIf9wzL/cW9pLmjR90658c4bdjpBS+hOFwqVsum/TvZ2ypLryEg3Pljjse0YUtsNSlDbOvx7p2FvWAGfErmJ4PAAfUJhAZGlZUH9apWzI+bG4IQz8zrdl8OYgwkUbigtthPQutDC/fFM1nXwhIXKNcKsz831RF+pum98Yo4UAkXPJFmSKKsKxGZ9ouKsN2xfs/FnQT7a347Vl6La+SCs93fu4OF8Gte1PfYMNnPF3JS6EoJ7jcwLjqq7Q81PfnqU4sb2N9GISEdKoigasyXZoKfiA64o/2dka+AU7FMwz4DID+izo6GWVqYIVvi+jeeN34cXC7pnjTlpsUALEVzEa5uXxa9QNEajt7J0TVMxSRD5waconO8ob281vBU+uUwnrGzNXKln+ZyXRpNNUOPtchhv+6LvdeiLqhMQqInNWQ6qsDWvemOuL9njJmuM3pFltCMJsWNkr6YmaXvjeJIcB7FNvVvADxb2vbCBSIv6XIqMoMbawxcmvl/CMjl4biQe/CsJY0hKHHLjvqBTEPUm3zuklSjFr0EkkU8DzifRuKzAypA8WcMz2wYSz4EXAYs4JjjjRglD5elQyzNcqXcMlKX0vguaMx3X8WcAXlGz5EOFz6877ZBSYr06cf2+m+PJigZV83HGjCIWbKeRxZGUVyWQQCwMJxwfnHXmodvFeJuqqxE2k4XBttu5AJbTVJ4e5/k6ckiaAodYU64DjC+zodSNvAiZqUDS6IAJMKyNr1zVdCRYLARXGTmA382AMZae/8Xuo7hlp5+K4bpOs3HVJwYsiBdcqc1WUFPbkniMz17U+1P5/KG76o6tSIMNiQBxlD4EoCV4nGz0oYATc01vPOwqQpl4IDWH/kdoGOsWO+at7kAWQ9a/KxEWv/nWiXmHrJnky5vXBGiV5/Ccfi9bb5cNfnWySXR9gfjatWOL6KEkCJZGt7V6DfRa2Y9GA8LV7d0lIPcGFcJDFE5xSRl/5w+lre2QOQHhQtNoUwlqe2FwqjM+N+wV3eXzG9jrurRQgocYs2alSG1zXDBrkuqHkZwk+H/Rb5f2CIr/2Pbr1TqHS7d1RIPBkFOJUB+Wec0piNK98wREMlA1JTMpxGxUAUO/8jOrOMiabc7ckypY8CopAdqAQXrsaoomT7sEcLqMlv5xhWqIpV3fwX8sjYMEqCRmssp6CcBCHR8guxIJnIp1c+zCLgwDclGWYx21P8xyzGV+clrUCkcIInM/fjZGYYTyNdB7iINC5w2WucFxgLN1S7DhptBBCpKibvoZTtcj63uJpiqoK01aLcfUUxvQta+01ssugQnW7B5ElfGbwuiIqr/AG5k/Dbr1t4mvH4QfXH8wbMcBgbRaPiTaKb0zmPiMhEgv4z/LZs1tfG5wRuc3J3CeQZo8jhAMzhJgGzVyVo5EGY8N9u6bPAaafwAA+G+s1FphKNgGqGkUkarDMpv2wG96hXMB8d6jqF9AryrNFQkG+cs/fO+kIVKk4L2zOH6c5u0SptVRxyuVopnclpKvM3gAk7tPiQWj+g4CP0Ogz/xBi/FjAOzmf51BpDzM7ODyYpXDgP3aI4uPd68D74PyOenkIA8pNaJN+oDqi18TuIyBCvUZwTRa51TBlBgkxqIPOjCSmpZV9lFjMyxuRlaHIdAN0rM5CnNiLgufVUCa8ScCbbDfnsZmaOxhP2davQ5icPzfEx/03SniIeuChOQ0Zi6O22SUFjPLzqNXWJ5OzSmy/XcQWcgN/tTf74J2bTg1h6/dP6R7DCiA8t/MgfXvvPCjZTpPao8MQTRsEY7byQ+F2U0ctnGmEZv8a4FhKgULNIh2cdYRIjUuQvSpAg+5/K0F0gbbZeuYt+Ty2eMSzkvN0Qi8pej8WBdOho4VLxVobDA3trGmM1cU+C6wVqcJC1AB1lr6GRYN5SQF74zwX1m+kJ7Ld7g260GpBm+Hj0mHmsqntWcuzSbvhEqP6QLmtTeXm6I5FoO//ptOwX3wMURgLGIVtz8unO8K/Uk+DjDmlhAFFtpUQ1QLJfC/SsXiKa6oZko5lykyDlL+fZyCxH3ySAg9NP0owzzLE0zsIjXD5AnUnPZlVVG5PhfQYuZWwulR/vp+fsTvwXURUnkpNRCojFgK8CiwkqmqllQTznCzCxkDG3xPX1rzMaxG54nTHb+6K3fmQQjQTAswwp5iOIYYmAAZUHCLAYhzdKpRU0hr4+4K77B5v7XFZASm2weASb56y2zmFPjaUHaPAwKXJ0YLgUiabw7xYqsQsYthBM6NZl9JyDVkxrMguKBVTqtl0xqXNYKX0d5xTYHeKuIZd03qMGX5IY1/XTcN63IfahEd7S5XvcbA6onBgTSg22zLyoaJ18eXWAiAeMXg1jvBGTuvo25HIhxSMVcJZWmX24lDwgZAiotF7jrSjl/ijvLwYDcesjDx9MrYBHvT/lSkjoTbgEwGnYg/Sj+VW2fYGSNn3cV8QfDZiSKxwAf1QPY7EtufpHsgWwSLswQiiL/EVE7HeyQXlGWoFS9MpxuYJ8VpLyBX9ZeP3ee7GfzJExruH0hzzo4yg1Ri3F546Fo9js9eGZ9e32yGrG2nvP7SqzH1aSKLsM3W1OVebYRFDhdHBVUOxnPNCKiALfy//BfYjTdmfiSY0TxGy0Y9aXrIh//Eb/n5phXmaHe7gYTUFzx56apV8i5mN2hjV4SB1fCQO7vgEG49KLQzyxE/HJnTBfoWkBmv81vLcjlYq+VjWuAU0SufyxUIWC0m1tmSInNh2nR3iRj7BLASZzbGLCGTNgmresgZspw7EwHPkQh3MZNcbng1cDcJ2NUxK1rXSQ2Xet7V32vutkKT+W1ar/OKgV3lUERdBGx10WJAEXFiULjeDvMhDcEbU1RI9HofmGBBWOXHrgLxfknyVn41JxENm78sphugFc2kFTqOqVhgVcwyJhDUvogJhJOVcbiawS2ZM8/HgBe6j53zfQ/E3fUmYmRPNM/WtULqi6/JimQ55nz8TeazhqYCXuaWL2CkrhWcJgmgbUmDgA0aoGHsceWIwL3eBmoerBRBEKhsa9DfRndM6tUTIsNomEb/0saTPgbMIwDkCkMiklMM/k/qlbI4Nv9tlgRWuzMaWkG7q4T53NS6Lew6vDeWJV18/CBAtOWToNC7/2jhYZVL71TZDn0+ecLJh8/EELF/7qwtZrsv+60D7kL08dGAIaMTYmwQUXfkd9lDbbz8j6W+/KeUqXx9eCTJ/Sqzh1ovb10CiP5WlD+XZ+9qsE6kq1m6xoqYNe1nW1ePWquHRLgCWJBbmkAmOiGupl0JAwhFCIlo05BLuB07avxFPH9G+AYqNCJGhxinCFlCFugkGW6VzF9hNAVwTzpgTVO8PW4AAvhOyJxRFfXRUC+9PmpxACOj0tnwRoeAb50HmnrzybeLr5sz1oP4o9cZz7XoAlbK/PPFjJUSXKej3iAcGQk74bZhfHwl18jyRlu0dhpH8C9o6iPgKE88aZ2g07xzdWvEccdR0SfcAy2XrZ/utbwmQ7RjfAY8qhiuZLnFir4tLK9NiG9vzQpvMCeiWV7LmyWeygBLLtIEjk/TZ5QN4aqIwFaNyDhgqNrcpqSD8dPEnpdA45vqnfX2cfNiSRyr/i1dTHccG9h3f1DPudP4tqxdHiQYf/4EkwHjsklbIBbKhFEBSWYsKQ0fb25/VQKSycpBSiI3T1jj9mGxNO6QDHeGRQ6CLCoHijkrv3piqUoKoWSjSngCq1wPhPE3QwrFOtAx/NEkJ/cm9tizxQ3nusYTqbwUCCfok6Q+Wfp+ZOwyO7Yt8jCvqSInGLPvPGCLm9vKc84nrZFv8sucYXmRNbqWhnDn9/1Ddc9b4/+TPB2VJ7SqTiWYkeZIN5UJMLN8tVz/MlGTVJS9FFiCS1zqBp4AZuOw6IqLYRY/wKVk919ozJ/HWSyCP8Z3GA7ANKhdpdCRFvQn/N9pj100ppdhJHJXg35U5RW57nYGeOGA5ofNc3Rw4vkXcF4RSEf/dLkvhcNASW1b426P2+AgbwkIjhHq2RVzIAnpXVwXldD5UVWyRWsyfjxGMzsZMy+Am318anfEKd9yg82h+UUQtfZ0EAxw4Mth3BsQgppstGvL662ylzSPno68FytQltCgQAKEb2Lxt23Hya5jjoxuLuoUBNYXf2BG2ny4msXatj9NoY/2TaaKgTzmqxuu3VE8G24EJ/dMlgwpCs3DKRgWQttlAYcaV8/4+qiKBoMif7jP8bxUr71Bk2sKDFD8N9ZWMlEkufNXrCtHxsWU8n40BbpShuEiEXrMSKrsocINEz4uB8pG/EI+MMxdZbuKa2YyZQAxzc4tPILDnM2hN8ET37Gq/6/l0AneYSGYoLx6GZnt4dJOxbjer34qr8LLZmJRXwW5VasBbspzqMF7w4bESELCc8M6lpxVB/he9QRGB5ej9coAhOwdbazwyfa/j9AbLTBbCD7WGk2GRVPhKjw9/nzO2VnkNMisp00MoQvo1bcFsQR/w9UOrRokk5qI7N3NFZDQ2uuP3udSGoXGKup8J4YfB2+rSk+KUKiljlAFlOzzcnp3qhTIEbKfd7xxzc4cSb+agwJJJVCaNp7fFbt9+rmT5fzd1IdJv2t8PzLckgNwbgZeQFtBTd53PDiX2pyY3VmBB/rWgFqk26JgehC8o/ky9UwVS3SuqS85szE9XSFdHprE8vemO/Am3lJf3gjzBT1WmcDCu0HKrCB2MDJyX6yGHtDkTSXsJAqkENRQMNMLyxQI0mK2R0ZEYuVufsF5O5UQq+eVPJ8FHUw75DKsaYpYTPXxTQuFm5rkLMWlSlVvVp7wi8FtkXa0xVmPSFYvqgBON299XSWgoK1WWDWFmunkAp0Ppo2uwI8qIAUjJX96ngi1UXE6COzEcfYnd3oPTDYF++toMayeyjUNLGq//WNO5vkSbEp6vJxmG0n8+9m2UIkBBgpL8jv+GeKQ3uPlzRNhIEtIVg8gEDpkd8r75M+PV+hU5EwM3EKVB26ReWoIQfocLoRQlsK8GFl0XROjTuO2+QkgYyJFTcE5VZtpBR6cm76vyDMOFxEdxCtv29JeY0ThQIvz2li6sSN9Ss3nPHhQDxsxWhKNhOFW4O7sjVU4oUr7R+VZT5b846TKdcKzzv+/smZT64u7r27N3OE5+JzpYitnAP8OBQv2wcC6tyehOS19dn4yq/pePH2zkAWpFRixeXR9dqCsqG988WRKH1SYhRPZ7J0odDjj+lqjj0lGhOVFPEIFS3kxZ7FcAEGOkHjt2io77rxwAMBth+n5Mig7ebw8DWOIxt3MtMNpzIpI0Y6kHauF9mrFrM9NuBwapUqQ9uWsJjz8fZ9KbSI++52/Sg3t2/yZCiWKYH0SZPVq3meC2FzPzL/wywv5WAU5Rtw+fFg8EvUat8KZSU7X4uXcNJ5v5q2NS0dnHWF1KoSTJM/+OHRixjuL4Njd6WGdvjICrlRU3jzL70mHFEYUREjfqofdN7ZHyexEcJRUF6D4RfQgEYp/U0Szq6Gh4mTBNo6H1TWT/mYnzDYrt9/EUNEYcJcn6pU1Jr1AU33ykQ6dQH2YD7D0cz95MeNxDOMLBSMPcB6BbzxlTxLHyoves7DFe+7r7/j499bPhZ2jJ3eoJMBpt2yhy7LQsKGUzDiwWMw//fl5rUShti1/dWH7KJkmMCszJpuFSDGUgMy7oJqeBCxNUXOl56pIyUiuJmJzVPmC5igCkNYebiXu/TSmLaIgMPjZ7Kc3uQXTCARFYjQL056G6Yz8KfBnhMDmqAb14yRZuULYBRWL3Vf62UTOcSr6bDbGcqHbfVunAss/fK4liq2Q1hAA655ckzrRi0B46UH4pr4I/QthR8NVXZoYKISmonzKr3d4kxSnSIw3RNL5WL1GQ09XnzWHulhphoBLrkX6iXPhIoGBrOCS3mr4Z/vYZK40R2DthYQQzOZDrpuu3IhhTugqukPDKUSgxiIIu7FWwryMlMPJdIPpDO5YWFe0LJewLNSJcetMViED2KgsZGkwcrHGYSO4URpys4lx+aD4tGHHX5GI+Q3pXrOmCbxK8/zhQje2q2v5yRcWzVzQlfccgDRIKRDjwRMUOQ4At7Uv9pqL2hbgGhToqb15w3aI4IXBLUwU0eKRgLoTuQDt6qGQBMKuK45L9+nXcmuGwEs1EqRzqIg1OZA4yNIPbtmjaFbtwURYM6CA8Vi8R6J21uK/jf1bOOWDACbKEKj70sn8s3SR2y/VBO4hr+DS9V+O4rupY7OFatoG6TVLVjdXgNS8TxBoJJKzq1e1Ubl8HMQ26+YJjki7q07XkPQKeYPKF8byGXmIyurfubDWIsQAM8hxM9SUylFGVr2EuNHvqN2M9qbOfjyWCgsCv9TLfkU/UFofnHgC7AKKgRYpklTRov3yATQO2ywNV1vdHiRbnxgbVWzWjUGVsjIxT04dcB16v7txLaZW9s9uENmKYqZ7hmOnSMToBgKaSEGf1P97+j4wlWdCVO2deBNkzNpeVJYTbByIKc+BmoCY8raGHPl0EEzZgn6DkRZEWsN+cmekzr7PmRRStbOMxed5AW2U8PdR9A0jFhOqhwy6IIoVSkdwkO0H83JMaVFc2aq6nxbxmez5NjRCfs1d0fAFNASQRU5iVL8NXI+5crzUcKllhi16FzDkcjyD7Nb0x3DXb37gOEut52OqhL+KCx7vFuddET51ylb/14XSQpqsDb6Owxmrv1ME1+C9gy1V+kiTy6SkSBX1yKduRYl+XdADwL4iXlfjDYfXgNQhI97IDktwFyVDVD9J1bLn2mSWvdHBv1GpLXbmgmAG1qMONqL4wMe1X9yGQQg7mKKU2OMP2ZlLcKIjjWaTX8qfqTF4aKdls4vCU+8C8x7bsZ5uqaDVH8Rn+0G7eWiBCCEEB9kg2c5KNPfiWU+K1fbjXJLTn/DjsyvRDnTR2iKeD+cjYWFmh9qhZn41GbZj/A7lAAbejPM7Fu0/oeqW8eVdJPaGwyZ/giMDsKvpyxfqAL1dCQ3q4snf2rlv084ZyCAV2JrRDgoEDNRbi1aiLXakd1IrztWTCemNIMAgOl1VKT1Q8PYcuNYY+wRvax/sI56VgYo4MWk+IUhMbNq+crMBCC3veRiXTNJeF9gtu+i09UKh+gzOvHRTdoufio1xyZy81IChosd46SpABNeZdZNtfWE32FRQIqr9hU88C0N4q4caCefJWaTM0cSBZ2n7BXvBf2i5FDxZJj4ULL3gCixkM7gxGngLYQklE="/>
  <p:tag name="MEKKOXMLTAGS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ItN+BdkIU6kSkys1oz4FTbg3IAHFZDQQIUI41CPkYeCkR+S8QFB2kPylUA3JsntOnMnXuTmmpeohPhgnOvWjiDdh2M7oELFB4IhxJhTerNRjCFpuFQEejr1r5CmgUA1fqrpblifu4Ur07e9issnjaD2qHdvNUvB0ydd0A6T/k2Hg/O3P9r73iQw3MrP20XbaYOAUSYg/0Kgu3HyQh6hA1SNCrOZHoM0gc98Zjv6LOFuK9UV8oDGI/SklUZphJSSGHPOq2Bsu8/Yfebar38g0XnrPtBfcWzlEdW//84r+QYUYKcEKigUMLIpiiFKOhcr/704qKjPeknEu0HGXLw1xjVICGLUKBUqw0R1EJROvvmXXsxdDkoTWpm/4Wf/0vmi9hwjMgq7XcOAiYWW9RAlEz9hGov2hKWwTLngfU7RrJhD6rtj3Vsbf2KU6ig28LvjBqGzJB0d89grGBTl//EGjBKcRy1Kkot/mw/VZS2jtkD7A3xZOFIbTTsdx69hMfw0X7Y6ro79ek53YUl9HdVuVdtJebKmmE2LKJheZatts/ifbQ+6rCnD9umnbZOYhYKOoPakOQRfx7sgzhMs0kFcfUHunxGMcyzqXvI50j+icG5uGFaP23x57LLbsmpGNqetmP6TfGUjVoW9fu5ifuskBkp8lpDhxju7wJbs9WFY/9LGQjySvbwOCAWaSsWno+WuV0WE+FJPlG6yLY0Gj3FC8zrFgWpSOxFvyP45AlnlPBduXDhH/0Pt6nQexRGJpB9WGPt/+OR80YWAK8Cd2BP8kN/FtBcO3KR6B5CE+oCM3Se5e1ktX4lpQ0saQcjBfG8G36Q6UGsAm1T62G2U4aQtFZCNP4lVMXhbH0U4FWDdvMr0WwFCqSvi11PZbqIKnQ1L3cvb3wor6m4mFoAedQkX3NbT4UrYxswuT1JVR8gNke+jNQvpdQZdz4sltmQY38eHw5xhO8U21Pl6DsuVdWGNBBbRj960BUNZzSlNOXzmGMqrXjvmHaoCHw6wVDuk3yYXh6PcSiJ7sh8zb/yLDyM7HcPqC7L2+UVwh2jY9bviYThW/U/kOjxNpygIRjP22yv7bCNw1lIBmvAeP0TnSqBhxayDs6qZ74QAXym/rFMlI93MYaQyPvrsUhlj7IOcy6bpi+/2iWmaSSYlgrvn7XTcdmWie6ElPQ+AihQC58y63+pZZv+MOemFNbgpc+Ss+s69OLVm+C0tvpcSz+2kWEU2FmvdmP8L+mFhI721m4iIOzK1eJCkobMGSsVlndml/CahH8WFZrnrXORnuzWquXWaM7hmvNnrFw0b4R6cO8A1KHdXlyGFk98TckmVNhZlM1eJIKAPg3oC4AwbQSEd6Blp8fmhKeP5ua+hlYyvEeofeU7SQVNEK+MEjmb7npngG0KCdxrF0ekCc7+xsejcEyD4WzKtLAt3Q8oBmske8fAys6GPOIZr6seku1DbAryh66wpaxj5+7KNLXk9Gg0WvtZU7qLip+8s7+kbAGviUybcWzV+jNzjmmyuv253sSXOZsPD/zqx5bZjGwWHcT1FoLqGrDFfnfauotk7H5UeoRCv95wo2KkN9OyB4yQ+EXTFuA8JhkN1s2jB1CGhV7ZEwjdgvbqW2gkcDs33jDZz6y8/fAAfZjef60Q0bNaaPs9rffJJ1bvRo9h8LOVBJT5+o01X3W+ZMY33hRFDY8h9M8P0aOwyLVaWjWFBV6OV3tjLc+jlSmoxWQhuIb7tAC/D2Dqx+QDH84BFFtpQMM+nsx1DUYQLT0rWP4/ICyxcBNSmz2ShWKD1KmUNOUsSE/vEeFDFc7W5EJo8MjEX4To6BIC46puBsmHbySgT5WkqdrbhJzRKab5lwN5Ps8SBAoY/BW7dGCeVwdhnHdjDlpyOXT+n47zH2v6/V1GH9yhSn1sZicrDckSpNJGmVW2KnatMJ7gq+q9CLffFdjgutIroNX55JXNQdwd008nj5MKXxgLIDVTRw/1kL97K83WdUQUeB+U/bUYs/YC3ulGfJwjFGH45OP46niTAPVJGKc4E04E2m3moCurqMPw79BOKxcPkIenb6Pc3c5uT8Xiv+t/XbcasX5xLTuw2W8P7aU7Ya6g1m2yDN6XpUWW6Hn8vNvSOkP6xyjRdFuvJHHt0EflkOC/Dc1Xhh5M/MP2R/rcd+dCT+wNSEg3OdCaWj3LpBb7+htk2DyP2ds42qWQPC20izPwBnxPyHOvIoROSsS/Eo6Kbnoq4WwKCez9CbI+X0+m8moFd7/fjzPrWtHZmhEjWryLfpt5DuAUlV1nQTeo+PIWHhOHkSfP6k4CLr8RXGJm1UslSzfyp+VKO9heu02rnOYe0UrXHQGQWKanTOxXmcDP0WI7o11STYzTm4QUV4V6FPhII95/GRj8VuSqE24sKhOcY0bWTzVWFMl4f/Kl/uwHNHorSyseamBgKUxjHpMSk8iuBWr0VE1Tei19RVANLbZAAgXXU9rYa++gZ+9WeCsQn+U8Mw3jx9mnSkE/OHZB3kuRolj79oWU4FS78YBlnnuc1ZMfLcxbBlTl2beeZKbL0VrK77rw7RbEA+sDeDPaTZdAhxraeQEik1pGNyBvGZb/J/qY15VqI+7Y6a74FhUhej8jnmI7uXTu9zRHAiOiGW7f1m8zlDLSSsIK5ECBTCBmtxsEqmuNk8kaVC/ghHjRjkc4J4Tpj9eGbDGF1L5mWAtjHXAZb+Tekb6hydfqEXKdg5tFSjr1liE9TSosw92XjqCR4ODjcLKay3g71wT09eKAkXI74D15tGSR1D4dsYJoUFMQpeqrfFCL+5aQAW4VWUzGR+YPqL3QAmHDavUDCYY3BJPFq8ATKetkCk0mITJMTXffl+fqQMX2Uy7WtozY1KuBXZSNeYzZVgV0MibRTL+7o00QYcKoZjgfrE2v4zFYq3zoUaZiz111osw/xwIb4hczHi6Odv7EAhiNu7VsAhs26s6xq3wSB7sMqRFhM6h7IkRAe9yFm1t98XmSwk/n4swnJzxEjYtP1QRBPuOCI3dmSwTpJgOn8SdOBua1VvmfIZNiIsopKLWHE+zRLZJxWYYAB0Ynz1UNhfOW/cWI70dKdbMjE+HM/CxbCCM/CHuUTkR2Vz5arAY2ap9B/QMKk7dhf9HVQ42CTRAYTEBLmopTSCU1g+QNhvPYpVQl1BEEX2Vl7ZFvalKFvstkhSfEBlfCFdF7UJ+/4KACMOxZQKKKvchS1WUySR5mdno114NJ+G2AYLXKzTqxM52346pVewQxwfuucV9Lpz+zwpaOkjTd5/xOrrcN9/ZB/9+NUgiI2P+ILk62DiZdYkfVO9kf42jEuc5oSRWwOOpUpWWPEtsTnF22+mcG7PgOnaLQ7dPLXvYEb8mQ1t+AEejEBmS4grZCsEIF/IGpImWSYk8B6IbeNIi2c8KTgB0wBKn/Ca5fnyOOfwa2W4/beRMe0Z7HMFKFguMkGWZTh4BRhjUygUCuygXHHqJ+A1ozgB7FZ+VNP2aQmUtrFVvUkuybhJHbV7VTzv2RPliT9kZKJ8rg9qs08Ch+cGPy+WCvYOfIQJRkHh0Ig+8qpSpeQzbKqrau5nlCkPJ47i5FK9xxozIve0EaQz3G680AcJRwGvX1zZVz2YowD4oy5CKela2WYF4egp6+EWBHTBQCOh2AOQtpbIatFk4B+n6vGZ6k4kmRyVH66ESDW5ROG/ff28Px5YnzGYjGnUqpAHn2Ofmni8P8A9avRxyEI1OeMKKe7nnged1DItJKiCzG6JBvdQSX958IGu0CcCJMaVoB168uhLdA4XAWwOxq0Ux2qEoFdYk3v8VvW/IWfASpinWJQuaZwhOEx5biAnKWHqzNCSryYn3ppLrBXA5EB78s87Q0BNLYwSbcVrfNDdUaobqFssLDljbY7cx+tbwXWfLROHJ4hDGsSIkLONekbxUVZzEEiWIJSAPNgGHzgmHRCsEVVGiVPl+H1uLgIX66HLS3hnlTGCNl9pL2tG2thiENfoxiTCOrjTuMdq9F5oDo/jDTAALUwZajQwz1XuBQxvmzeuEYCwNeQ+P2cKwH/sNvXNPLX+5FjTLG8j3bveWeR5rAhegATf2U7ytapy1EzbzuK38NifT64MDMV7ZrE+LY7m+DDBQ9x3mmXGvAbtWyUZKOToP6SEniaJqUS+JcV3/9e7TFkWxygcNZZrNKqDd0ldy10OPLvbel3q3RGmIt5iTJLc1DQTZm6BgqSjOCnm8tBAdd/iJpvw7c63UqB1RMMusJKEivORKWuS9WH7/0RyJ1IkwdcuUGYGL9h/+dDbsY96kqaehB/r8AxZFcC5MWvdWS3xZTfmJLMCHMeHdH7IU8Trm4Wm0fp51LwwSyRIU8Ahpo6Q1N1V4S0Qw04CcTpqIvS2w8KNxDxPsocic+Hhb3KjUGZogP2nz5x+MCiOyLSre2uVcfkFX8bTLZAgANsQbacGMFdTw4qFWWhklsEauMSmRRgj7nPSxWl2Y9+sjFHJd/jR5clSGH/3tHtOVNPJ1Is1WOAs8bGl/Ek8ebbPFXXBWnjKhQYEQzgC51I7zk+gipaSLSn5d9/vDuNQvav9Rzq8C73tbZkIH90f7lE5WGeHiJNLxyrx0v/vPHGNGgrBXH7v6CMiRyIHJvQsDUKKumj2iDENSwP16QcDLXnjhkINAaGXzrd/9bTgt89b6nu++6jHnE3eBhsUnu2FbtaGYNnjWZUAzTW1PCuuefJkgB0Jrr2GnXsu0P6LipadcWtXoDWZXQg99ynk2nH1TeEzTcz0zgQNaONMxZgY5ysCFBJx4HFOMR66AbsI57KZrTAYAy2fDXs08csBKVED0i/m/r6CyA6Y4KoQOo+TvI1cw2DjQJtQEmxGhU79yalsqaAa3UCBTug56YKmBHLP6cIfPSsasIc8HEy1kTuRjCRUuam0V9SWCin1A7295wrNeKUc2u3FhhA2ctt4VEYLmaBDGBYccntpAmu3z27pYYZG0Vz1+vYUfQ8T2KVaG1jE2+WoobFvjjmBZg6eZvqn8onm1Yfk7cd6lqRpYSbR6pX/ukSDw5vk8adzd7a1igwafN6PRBdLqjefdAwD24+IhdRjgBkSpqItyftIAO4tPgiPadWcNgXTeiVOO7XrHHfPXzwFJinWtQ4e3fodi+dsBnUsQnkBB4Uq4R3rZvi5zo6xcf3539ODpH9u5jOZsleYHgZlk8fPMWRwjHtEKZ76lpjBSXt2TMczAB06wP0LACtdnzpnMOzRk1Te07+IhNnA5l50gmw+OUULprX6dMR0LuFD8Lub+0nBQLMlguc6HoyX8xCremLNvOvvDBNGm0GmtpKyc6k9JJqzRp9Hjm0N5Kq4fdLUL6rDPpXe5KWwyWzErIOyvT0PJtx1nKgp6n4j1rOwzMxItpFviOyr5TZFdeMmVBb+6O7FmxT+um/mMxtO6rbJbTnTNrwM+aOd9CzOUW/3+CsbKwe8HJP0qClKmvuXAdOyMQH1217wHKX14sl7yC1bFq4EJTD14vf2f7uEpIca8VhJAgSFOhWeA+i8vGElDB5Y37oobmX0D1/LbWd8vXjiay0pm6V0OaoK8eRb9SoXeYIcxHEOAX91hGgOwVAMrNytFSX470eSsaSvQzhPhp3N4nLAvtqn4gYMy5ZzKiOz6N+AhDItlgIuoT6yU3jiv2q7kWhp53EjpqY8z5qtAXS/U+uC0xRLqoX0W2YlLrsUln2KodwB8/r275XnOKdoM1lI8aBl5i+s8nsb63lKJEExGMbTzcPcLwnaFBoplNryPQ2rqqMuuYB4cwiMNXhyFNbLmTcN5OW9XFUjC14pSHMiUMINj+pYKwTsntydzCtXun+LU3pn1F7QxXUcG/Dqed/Ae8VZjOKLHykfzQEANkhXnHNVCQyjYkvYIUIp8j9dN0B5WAK8eG1K+xW7TDk5C2/5PuvSuC0rWc2eQtSWO/K4I+HE0ox3e/2MOLvgS+aAd0KOOemsnXKhxkJj1j4IINS6aqXpJNCEhf+NiAWX2qGV8/5sO3qzSnuUQ0NVOt5djwWtn74vm4NilonFhOqUtloVDBBGG128Ivzq2FGX+hi/9fdrVYtq2/ueP8El8EEIP70J47XjDVrjh0VE9h5NxY/2d/pshaYxWdynZ1hkZT3U8drHqP9LhAKn0qwjnsLiJmtwhZPoaHIQhN5UJPmRDbi7Me9SOQAlKtVPs1AvQ1ft0cXW48CaCb6HEjSa1S/loqLCLnM5Aa4+uYxGsYuDYwElsfLqK0uUHlX2P9BiyWJbfPgxtA6+IrFlFLbuDtFoy9amgP4D63WlfcGwCH8kl41483Elf+TfOorQyGNsxBX0QaIfrHS8B0wgGGQYVVKXi6udg/x/eUL8DHPt+6GYqF3S5OpD7k4wzEL4obzTRmnmF7WCd/jb1MOO77e6/FfTNOAOpW5PiYhu7EXvtXa2xY3JP+9gZlBtmhWPX/rtG58rmBbzyqUrhvhZmvZTifG0/Gxtlr6VB3/k03b1VUfrbE3oMlqPMg7Fqx1ZoiNjmq/oC/Cf5Y4BkOhuY2TABmXvmmQyPO0fUSUn4XzWdC8QMgEZDIBXcA6Nl6S4VwR1Oc/7/8tTjXkAlAHgRc/hvH1hrhVH0QB5zeclaCcb4ioflAxfntugYmi4ZYQLNoM4OJtpg8UQaiPhSOIR/UORnKqrZqRvi6ShufNCTWqkNKDFqCnpLhMhAVVcmJJ2ny+QPkKHvya8ntuL0umKzVi26mi406vrLd9ZIZXqolwoYyuyW7/ej88IguYLccO2+A067OLs7nBs17eqc412RZELIOOaDDGRfPQ70aDh+FX81zYcjIur/v2/KB010W0NTpn525LwbKi2InNFks/9SWdiVd3dkciYJaisrFdNH5THowoGCyze5UzB0KQW9N5qPpsEmYWlZ5DKrEhGn5ZbLZYHEQn7hI/HhvX3N/vVFZpw6ZB8rkTuptEgrxv08e0ZSUoN6qeIBpvFeAs/Irnxm/jtYpmy+DnxvuL9UBEgXayCYQE4NnX8TbKFN/8l++9u0/YAXWs3BP96AAR6UTTyhP4W7IIYzI2q6mXUDOfQiLiyIhIntjXUyHN+OyTlQQwkfIEH7he8syg5ueiUKiud+Gg5DgWKvJ3j7RuHSMLqf0Rta9xC1qcqXvPFUb/NhqVZZXD9np9Vi5QfQEFpdYcu9LunfygD6BQ1qNPtGoMet1yVw/+MpAroL76GxbOYCToGp/rKvxLioyeUcI2pWD7H5NkgiZgenTDVFna3IHtulPghrztq2jv87Y26kRHAsTlMxrPwkmlnZfE/gGbc5kBn7Qc+b2qwEuW6E4YO7eRUnfSMVAcaJwbX64eMVDbZy1SkYXr5YegPL8Rv1GDCRI14R34RQvyAW5t/n5zHU6Wy2LKhtj/xTRZkbWHzf9sKuu/qidnuQt0VVP4f9aPGGK/2bg2ozcAsdH64YP2gZP0ixhh4cHFyxT3Ls0jfWdx+YrTywXzE13PgjkEUC7hgUoxxPB3Fhm3xuLq8vDqpbWWzz+86UyBi19Swrt95nDrpY0IGsyk5bpi08W88xFwdHfe3+KrGFwzxyEHTebdkpM8tMsXoTvvwge6+VyOZ2fxaKVgkp/MMw/+rggeaaaJjUDZUVv6EYVwTAJyRZ5UA4/IHBfP8dKRsErfieTVQ9x0j6HHc4QwNXv1mRr991wAdwuD3G/TRvHBafddMSemva2Qwg3SlDJTI0qIHWyW8sWPlSRIFkrvbf+ufiClObaP3AQvEY3G5Arwfqdjjl7OpnrGc80EsnXZ+JOT7br2mr9qq8rr72eFVegXkwudMW5CVJJ33/ODeL6aY2JHEgo1O7r83riu5foY2GkD5oothS+4mYcBwUw7IUOKJR9yZph/45pokGL2NGDTCvosmAPlT65stXyWvIAiJMCgRMKywFhc8R1YGBRsq+bfjQTIXDQkJkLuZ2VQroc6ZaEOe13O7jenhi2duv14x/fagQzGxo1AjHxSTM4c+BMtUgqWDyIJ7r+phgcvnmyqLiHs/jCpNGFRIKey6o/5P0n1jquOl02w1WQu7tJV3atjNAisYWqbl8DRp1hAZji8u68sgXUP/11nCzR+wqcxXzN86EivyxtDr5dZpMqk1ycUYfjWM2hVJqIwapXr2oiluuFRRaMcTJjbdxPMHLier06jSpBpcybTYdBtNWK70EpyiFf/db19OAzVc2+loWXEHXXoAvzsxzXUApW+NTvOY/YdkS06F8vDJyF1CmbPe4t9xqa110Op8vXMgOj8Jyu8c9Y/Wf3vflESa6XuEKxXgqOpPruFxuU4w2n4RSxNxDGCWT5+6KmE2+MiFcdl0oSIHIXBcfSL9/SQPAGd5J5sqm8HdgerDiFr4/2/t06SGf69I4Offiv9FK+ee3U+cTkPZPyWLl5ASrRfhlHjoOrfn0OVbGof4WHoUSXHFHbmQMrIa2u4HWZMR4GeXDkL7kfRCpbrWeJACVBYOQSQN7sLWQ8A2V0qRV6YAv5A6G2WzsEJImgXA7Fv9T17QzYMzyurhepasGfe+zrVDCZAj8Ht4x7OS3O8v+NkqtUamYy17o5QvEfY7TCZk3FOrJVyyj+D71kr6ro69gkxDLApkPedYBYMQznc7GC8gXIpVdCubYuuXZHmvUn0wMTYDmXM4YJXHJBDIwGCOVOpNMDP/HJtPJFjRmhOR+P7pEnmrp7s/Yh9tYgtQU3C7/ixTlc/oPfZgLIXMqcpwimG0aSlSLeM9own64Q1BeKMIw56lzRWjXWU1XLQMP2UgvzyCD/BztdFfIndfbzY8zU3X0BqGW7vwgZMGcHLp0tRB2ScJgSKWPEQsi29GCzL+fuzT6xVKaqDEcJ2qv6YzOzARBLEnU53M3/LkDpokdgERwS80jx8wIDZLwKq9QN9hnf4v9u4bQcukoawXeUzPn6/2YFMP1tIiWWac0yIVFABCbTL+bJGRweg0Vm5s3HG6d7MAhFNHw4HxBE6kCAQ0MJZCPAiyN3d7ChJPBQpDDaSFI74CaXEEacmA09tDm5+/NS+ByXkraoTyWmRgV70HxJxzn8oLORy1lb2MjHg0Y3TnY2xfC6uTYPIsBTMx87hW9fcMl2b1UeZStRM6CcJYcQ4vT/wQLJz3d72DJwEeJtny/eJkxgrz5b+DqT6UtEEXPFM9zKSRZKuj9mpKU8qXl1ihqxjNAUwGTs8Nvf0KImi5vZwqav2ypZLxjoWTj984GAEnEgeYlbgPzTID5PxmreCEYo8CicLSxBjXX6TyCsjtes/yLJASESjkgRRsjKRR7hciXBMpBa/kiP0asuEi8nGeBaAx2qMkeJoU304DaOVtkLkDlWuMjSVfcOiT2cil8w+krre+0LQYmhXswdIbgVcFWpp/nKwjCOfTcvltWx7b6+9W1npmbl8oZPpzOLd7m3DZwGxRtOzCdX5ZWZ/yRYYuDmWBGhWmQS2iQ6Y+6VWUO4Otl0JFaxX5Yk6Hgl/HtsxC5z0lNaYYgjMj2G+vhNTH1p7l9PJVYinLhyHqnbqfvWh/UEIQZZBRnpm0r0ajEp2/ynK7fPrpv5xogRqtw0Q8ZB32RfPzKqQwo4zDKLXvFw2Fdj50ct2Q/kyx5EXrTsiDWxhJaXAZrQ5jQ54RjG5uQscbmfLtPhBFg6Ivu2XwOUMlYm7A5lxGYxIqHktbDnEg1IKycYUXAktcMcaVig7hec1MQeUeRaD9Q/U6H2KJ713EFZoYqr0uzwXMUe0pcm+VJSBXK1mUTby6Ok6vr7sRtW5AAsTT+v+2G3Ilpg87HEwFUsFb0Dt0NSwIvUvE25nmQAGHuypcDFXWI1bnNJExuonL61EmYhdVIh/qpAh5ISh02QiOu9Z6GIOJBQkucHdkggEBAQeP6reAHmVWC39fvEICI76cHsaN7cu5Aoy+HcIQ2aju4N+AyyIUugUT1GUl6Ol5ofb+dlt9990Q+HiFQNRgRCPnmmigZO+uJzTahNY9zxJyJzfxD9byN87QuMYsTWQbh0HliQYGD8wvECJTfUlyEQ/V3Dw1ZHb1lKwyc+OsXlLqC7HgeAr+EqLb4gPAxEHE/YtXx4hV4JsNZa80VmwMe1KQaautMldDiGd+qRpIJLW+z0OWIyd/ViSsFttrRQ1OHxAT8oGWWl7niNPZB1e2o75OcF1mo1+rOiLBaUCYnKJDvyN1Y1PYqL7AqHoaOsSCBmMFRtfYUoKpVVV8H1PVoGUYI/daHRcSLSoo8puAoe3LjDcQErJnqmh7R2IiXqNc+nlN4yz2bshOShMD+Seq5gsyzuXbyJhtqGw9DS2N7MgoywQvPwyjA6ycXpXfg8aYom8fx8mkFvwAf8SOMUgX93RpAhr1M1NWzNj79uBZeo+k9a/upT5lSd6mICeS5DxzsWg73p7YSR15YMIOSbs9CnVNiKEQAIjA1xzOS4muErB6b2MdEMr1FvRAsqWO88p3zK5H8rErMMAHFym3Uc1PIIqPV61fQfYD2Zj3S2tTMv3GuaUUORuBv0Zln2Udy9hCJB8cyUa4h+eUCDBvMP/Lfadqke/DmlL0a/kMCwJdinib5UG+q/ZspBf1z098nKjqZFY3VLd6OUKdXsKir0ea0/QaFG2vSgl4WP3fs8Vat4zlFCcIeH2SxE3GbCPR5/jb4pvkT8IueMGF/N5CALdPv0VTyflZYvIdhm/nI7FFNcvdcDAkb5JzRMAyIK9dSxTx88gHIcGKoor1oiKMNgYELcNgpv3kJVAlc3nKuVogHCzrLSC2qfB1KHWQQA8tp8D7VgQhwsQGNyEmj0cUAirmKfF76OluuZm6U2vXTx+JRsUA7JBpj6aJyZS1IOLKdNYKV+Nvc7VYl6QkqxtmMiJdAwubszNpeyq0KmD0zcp3eMenV3UdGn9eOKvjdT64FJM3K+PdsywREYj2eqv7XHZzUndot8PU26FvmbfOB7TDacGfmBHShgR/ofJfs9AuXtOC0QOObgEu7e2U9oAB5npjrwv71n9zA4VXa7j04bXKMu25yBHAp1H7ZW21erjv6PXTCwALXXT02uuDjD/NvM9USutewY4eNgjzS9axI26rlMXE4bsLNYADlmPfpAbq+Ghj45GwTH/Mlxe4fuF2szNN2FKUAgJkgifiNa7wkF4szV/PktI3rKV2eRe2Ls41t5cOHZk0RIXSX7lTanX6TtNO3uCNsPbA9q/0uu1FdzNtQrjojfSS3xsEWMumnrNUJeZsfLmWW0X87zx/iFqVI6X/igP4Qnm50147kx9JAEI96RhJDSTVcpihZvIU6uWJb77qKEAaKIZvxlozUuYrxgrJY7C0fkBzcpnj5fnkC5JvgfYQL3YnadRveJa3n5JcdSsMst0PvAmScgLnPDCVOSlZwgqDLYzLKaCMKZ5AJED7E1wY9EHmR8jsm/GYz9ZyzPA+123oPZlKbRu1dLBF4zskFGArY6tOJ3viw7lXUlL/4H3DB8yqC9vhGxaxITS72FtdDAwznrcwLV0QItegaLnKPSQHoTzZtSz5u8C1rUeb5j8JU5OunvZNJ0qvJLLMsQVRFEg3R/PW9Td6+foaR01VEXysF5RphZecNx3GFx6ePRF78dFsA0yV4afHAodxvV7bgz/NBI/YKvse5auaGACnXtkqrira+WvWhwLmh17GJYRcmdiBLbRTDyivrGm46iWWSmiwSqn20XjvY4qxDik7MxX0ZDj7LioWY61RSYjNgnuhNkVl8+Ix5dftdFgkJJgrxCogkv+ijGaJgH2RUlnNFnq7XmAYfrcGptMRE7weeNVPf9SIkrrDLE8xjCd2Fwkz17ocvpbo14g+VLz1t+EFbKek/5yCKyjunKYOfTmGzckCbldCzwgwFSGfunuYQpwwZSFG45f8AIxfpiqQgsFO9gOUAuM9qTTd6pC0mhWu2Y6nqIGKccKyQWUxJ4u9CGZAR1/y98Q5ABqAq1RNhRdgxWc2ayj0oLUkDyr9rRBOuIhu32QinBdGyBQ18UwfAI0q6RLqODhHenSQE6nWS1LEVVNUC6w1MHZBuIAHYEuAI54A1p5m7jsthZfSqmnSb8d6EQ/l7iPVo7NRehQJ3Wn/4yf6DAVnPqe0Byx0rfUfy/ocsLIsla9xaWbEpAMVY3s4IqPj4NUi41g/tExO9/PSYQiBJ3F0Z5ydZIF/buXfnom4o04EDCkoe/BKWGktWNDwiC0o5gjim8mnIpbAFfHiWoL53Mc42IQJv83/XkmSxQNYelreFkjMaLBP+03qHKyIujQwXcgqg8NdhRhe+pIcjG97EOzPa+DPvQDqhaFfEq8mNM5HhSMhNNIS9vol+cOsIWOVbkOoNWOj0/n0k8g0XHVSZcpkBL48AIOJRYtkqtBldgUIRS7kr2qqgr1TbDtooQ8p4tza+4MY3ibCxBT1pyYTjgT7RL1YBP91QUmybV8mvrwCtAGxqmi6RREQKvxZJJqvtv2G3LPe7ZPw+VCWoRuhr6U5VL8tLtPfh5m4QeoTWmoORO8+UsIJcU5lhQZoQ21+M7YnAj1j9T1Lt/pWVaB8OZ+JKIELrd4aJ5WsovhUF9BXqIoQTR9m7iaLFusSisnZ+HlQRjZbiSwZFSEa4ej8pNeuVeDMTgOnxl/YaXsvVlsgy2chMDJiaTbmaYuRgPxOUSrU1jwEYPFEF/V7GFieE+5EoUfku0qOIXgSOu7Q+OPIC2+f6PkG0yVSvxyeUhYNaU7lfHSRmE28gtKCuEURbAFmbNpJBWuiemO3U+vrWua819HN3/xJCEIH4Gas9RL5XSr+v+JPhcbDBOXnx3wT+/AMrF6CEvbi+ElTIpNgUzCrn/LsGu7k7zctAHVvNNQzCoYPvepeM+KskUEOJDejrtqGhPNzhyQDYqav58k9YpW/ALIp613h6AsGdK0sQ/0eNTIFybgiyLFHLknrTuw6tdLoRQp3EaeWhFA3VXd4MrC9tnPc9g7zTQoi9MwPR4lpfoK8kW9NK5jIzmdZzPT6iw/NLYeN3mE/r3eyQREuPF2vK4VnTFKa6v3CRe7GcrooroqgWrmI/A6xTQIRBvKq6/VnKzw9CxFT7mrsPtel+K/L6xFK68Z1i+XZ9DLKgB+7NgntDzJMFO07qQ099mczt8A+yyySWuAe6XsFv+RueMETKRmigssqVEJVZDDDKRx4llNoUm9w/gKMslS25oSdVzqDbq0O2UTeXJfxTlDaGY9rjgUskifexHCo8f/F0LuwvmU4B0Sz9rrjU/jZHv42kw2UYgKFuKHyyx0iITh3hrt/nDlLVh4MgV4Ubt8eAOLCv9u4J7tnoUmj6HwRfBnLTpalIot3ru4iaMG1GA1x9qWhM2JiVplAry3RrIjcqrIw9BXEv8CdmmUHRqM4VbX1Jl3S/rBiVW+E1Nm9Y5A10Pb3vGyHWkXkxJi6qSUD/UUq0Iwmzf+W3JgcL2+Gq2OkPf9G6PYSLwcIFqRdHw3Pv3q6pnuaDGmELRCawLRb01eF0oNHqhpqqXAEdX3Ognt9H/eCK+lqBf2vPq1ptJE5G7VXUfTn/qVlXrThuiDjwnzTe3vKe9HFjEboUMnlIdUi062HzgeDrytOuen5wYbkxPHICzWtrOinLgO8CqGz8IZmAzDxwxc0/1XBcZ/iSiQVw1MOsSlXI5Bd15JVAQVHfeQy66iCc5z/vxYXF+Ihjvkn1mPHSFfBohaNRmiTs8cIVQ7u49M3Tc8fCAUDKNc+xJUU2S3yRnph4YBUcwoZdLCm26bvWjRbu4JsNz64le0Dc/D0f2hCSNCx62fG9x/tUcIHIclQyUHNtjeNFH3oqUZrM05Fkz+ANTBE2UCLmwRL+ZWps/zEe7LMpGoPYt0HQPc7T9Nl78qPM7nad/0T3a2fePSASLhpNANUVGH30V1SVXofrO8IFayrR8/IcTsECd4B83TcjV2BcJydMWQe156+GORXCuKPHMoArav3/2Ko6+zgUiWD18y+NJPaDu2MeTe5lCNT9JZiZjSVWazwE3A7DKVgqP7jyXQqijXEwhwjWJn0oOHUk0QzFvsYpvNb8sjJx3+bhUfJZao7hT3mwpqZ9o2BuHPOpRPcqWkzZtpIMh5yXewZJz05OeiPpyNTP6CAcZTCarzTs0eDvnUAD8xOnGCqTgFamBOugD51C71VxYf2DfhC6yjpB3PUq4exXpxoJxif75hJxlbFD55Uf6XYBq24ehYUKEu2+grHfjuA3byurm3ogDY3pvL4P49AoIguTJL80nX5m/hps+aPYhPQASlkG2LTakTyu7DP6unrj+oB8RvH6/kt7qoJjGnbYodIs5QiHcn22pULhmEQxicYmMMeCOe9JJm7BzqhcCC3C+w7dUgjvdF9MAp8obQvlHVDFzs5Jj2iQDC+fdAQFEfkjPi5zHmyhBIB+ENeEI/yU/6iodRqsxBBm0Vwj1swqjPHZUmF2lPmRTkCz2sxVgnv830sRwzNHr1Z672NQC8O9OJIW1O7bcBMfogoncESJ6m2M16Q32kjqAf7PNg8hKxe6KsUit14Hly/zpdZIKuVxEIngbgJQA0Z6gh5cJm9VdMrEn9xzvYsiSdSSZgrwFSz6Vvya7Y0qDYNtX5hIx7gH2jYxA8qddt8laaRhIhf/nFARA+84cEefI9hcTOnhGPgMd8FRbjVZIM8IbrBEwRLRXadkEkWYampm5+QtQKatErswaP569u3x0T82oG3eB3EaGxc6CAkEbzQbZZ4yRNdhXvA9SDh1ggAnsbb+sT89q8sdA7us3dodeigzzrw7+MIVOdZT9CLAZvw64AIh74fqRP5SE72n/oAGm7kCM3Bfj4WSvXsiOwGItQirFvmZRzm59jqnYRvHGlcrnQMOa3I9YZO0RIQ0VRxIiDu+qPvQjCM1Jl3X5fhX0TPzSZe5bHbv9/R3kTgF1tgRPs4sLeZDBOtBNjHkss+0Upn/L+sCNtp/c3hUysfT/j7XW1lc0YYUifgj4pnYNoUdSBEIushTfeRul/vxnC5eGcFJM2a1AmrUPyQWrn8LsvV2WfGvdNGS52GeLzKXTNuTD9A1ZwVbeaqeaG1BrXzHClVgfOBgl75g/m1lU/GtgBQkxxv/tyC/PhZS1OEmUdDb+0lP4YDCzAQp+M1JJ25a5DKJcrPHXK94XmZLcULoNnPvalKB8FqrSNPEcZ+SkiA6sRWQSAIiTerMGdLs6dX6kVPShdAwngvXN+m2+zkB8QFq9sKirkHQ7ad7O0LMMPgfvI5nz0bYb46N7nYUxcr8BsZKm1uKBAeF9OPpi44Bg0fMalYJe8kHvFMO5nA3W7qUHfSvIMpdA1Fw82qHNIzWl6AijECjFt7FU4OxCVyc0LL0Enxxt6vS2w638CECwcWgSzSaXkA22lTyrbfjsPSGqLM5TmxBs5v9bjx4tmn52BP+Xw5v7LbZDe+NqQ5uPppag6tBCB9rP/S0JbMCvy9TOVrLKD7WX6k5ivl3vyAxdplFIa6+xCbyRXOZHHtwwntxuN/kBI7Bd6fazaCvw1GtuMOeg1k0XSn4NY5e4hwGtup/lZZiOOxZhtoiyzGplrSYPbQ9cVmUdj0z0gfTpOU10VrGtkYDG8q16/XyPMyvkC1EB1k62eg4BBuu9yF+cI7cZXniLCh3Cr7asliQmMbvTXT2yheEcMP4KnAPwHjrwdkkVtybbsdt5po1Ihw32Ms0s02xEo2N6biucnSUqU9Qe3e8P725yILge5zutar9V+k4rQ3taN3Vh48Ok+BKHE9/tenv/fu6Nbyg3j4AF5q4M3ToZeLNiAQ8D5rYGwxVnMOR3pJbeFLR1rlFG24omsraj+bts1lVk1hHnXzxdIdcorZlLnwn/jBHFRHEQFtvNsJb/jnvD9jiHSJa8/UXz8VqbKC7muw/adD1K8lZASvffUUDTSqhHc6d5ZAL7ftjMU1Weka+UO2but02lmmQhBLyJ6YZkG30S+i5lTWd6PpO8BwU8kYv54mzXNlU5nQg/VK49WLdfqNYJVvx8X0BrAOQ8POyE6LvXBwSLQJr6VyA6TTUccLsBPyFuEWbmNNDoPu31yY4LTR3reqWEBfQeGBnsSTNNUi/+0vrIN91/as6mlnfnSrEoNQEXrJ+yMcLBf4FUzi3ubZvcs+7ASdiGpNuPjin5zv94ljOpXUVo1EDbhZxwPtdvGe3uB2KAVCzPgHu2ZbuSygNJ5a31jrA8WFpq/cfQhQvgRs99zuujbM386v9Vtaj9L9/MSLOz+PHcQCxGLOsljdQ/ycqCub8O3PZI/MGY5tjy8hrJ/3DNluTbUXqYJddKq3BBDmdlZ8ZE99XuWEKtqSQ0uuznGw8NmgBsz60y/TW/5kwq5TPE7dIpgpUFSE4Ku40TNnPYjgIN5qi9xbP/TRQRf1UVExpfepwnOYs35jmj+SxZTf/6IPZ9ER6GBwrn9+ExyUq9fNJhAGJngbVjuh2Y6tMtOMfHtI8HgD8e+U1e35Fvsbbvg2zv744xjrxfdXTpHcsADhu+OcvVpt+Nebj2kz1lRJgYTpp+T3p1WhbkEyR0yKD3X07/cGkHYJHmWwzvOBBxSxaqB8AUeElLVQAe1Xf1AO/kvaY+qeZ1zAwj2EYMVOBDSZsPT1A/2ZdeUcmV8FDjXCH/7YLWmxXVX4DrxLK563aV1Yoc6TfKnW3kl4AuTDlz8U4GNLivXxOxrkp2lL2dOjpIPmweOh+Jz/PX30t2YK5/qmwwawfp7kNedIByFIR90E2xM1x/KtoJulKEHUk5KVj+ZKEOAPY+jCM5eNH92wQJqT2ouCnSNV8qnpd4a4LMVc94bOAsNX8miZ3/OyNTiZvO0llheHK2dc5PcqrOreI3PMfHrNf88b8vkthGXwKjt+SdBVx5b8jG4DtjnY9xUuWZUfWfMwMkYHaFeKqlErZIn5EdgQOVSy0gSHdrKDhb8soQfPbyIiwgu64hP2YW6CrTHj+nL9t97HImQiWjlHirjP/4raT+U5SVMs1clnR/LdP322JKHBNG37NiB6EE+MEWfacradHxKWy890YzN+jX7yiUsJ6DQjeSv3jUHIPIr8fR6+nWZENzyEBsuq/Yall14br25ZiYemVProQNZvT7LS4Ev/DD/46FU63ibalIG27mL97wDSb3Tr9v3NKG7+rYnW196ZLtgv8ZKDV+E5nn+V8wHg0yOGveHy1fy5VCBs5ibuqeF3pDqNE5dj6eaJMC/6igbMGgor7iyOxqdbhLHMViUXXANwjs303c9bkeEy8f41jpioQRO8Yh3AoNvvEGhDeR/e8NQvd4s6SvKyA/heYqe+1901t1tXBTwlrXVuLJNyNqKehoP2BC/kxfCKkUMELF/Quuvm9aUBH37uHj1CpQdlfX9joNLvni6ikaO24ALTg5Cfor8NdJyaoskJZAT8qCbZAAIbL9rHAZPRnDcPCbpFOMKnw7D9TD3FkOmi7Xx7cXpYWvNzdHu53Fp+fk7m0liCKd223JUnYyeZhE3DQ0UJu9qhVoGjcj64EVa9hXsfCuvGRpVyyXr4tLKdJvodL0Q6LuPhVwkBzOJ6haLPlTZYJp7azq8vzhVDvb3FZK3emuYmgMyXzORxBvais5Es/FXYPtOJ6mTb2VUnKd7mJQD94P/fXlKj8Pl1tJfPZVmfzPXXOMHrkhfdjJYxKN8NMRak5OjW0w4uJ9FpKv4rKPXahkT9I48dxnOGEnW2MxCTlZuWww0EygI/bEiNwU3PXWzIke8qVs0BdQmXnr1H4xB4ZWrT6IjFE18o73Hb4DokwTr7/E5zFvFmRfMVURof0lsXgKOQOwTd/ewmbfQYwgMq4FRD7k21Exe8wfq736Hhz2KWy+DvWylAU3JMPmVVy6UaCaPmJEkUlBZSHJquKdCERyfnlXkCEc9IcgfcWVwWJeTODOy20Th9B4Z5BQEsX+XpSik9H4byNkKabXwxIS7ka85ALVf9oyD2Dk4fm0eYcfJVMoPWlwysrXlUQlSumIBxy/PlWqvy4cXinLBrGbE6WyUM0ynPWKoTtneVp2ykvBwNAAxP9CRk+Z5K23Btz1tr3Ofb1wmKjknPm6VZITW7MtIs3cudh0hKjD5QiTjuCZd3d2eKZyzoYNSH9c9ulxO0MnZTUX8yXqqFvj5FnVE2zKgiupScC6kXilCGT8Mpq5D+xvoqaTIXSrcLMCj4qxmWGfPcqjOT3mRhW6zhflLFjNkYw1N4erBr9XrjZPSmFXm++2Z4c6uRWb9DI3v052YojBX37zvtw1KxZ5PpEdIGCIiIDvAugbdletsnnDxNDlWLi9J0/iSDhZNHpW0zRBHZBm2+H9mGkHnOKGbyb4CToFm4cYiGnKjNDkGaCsaNU8hPgzpXeafMxuXbM06xeKzlsV7zjbx0NmNoqkZ2ZF9lfNBoFkgR1ntPPv0WT71eJ2365KEUWRmESmaEL29pfRYgInp/wq77bBDFB9DqzQXkUKtYdZn2YYUY+h6JpOq4ylqlfriizfiam7g1FZiwRnob+w4dy0NDLUA2qLW8kLWUanuoj9f47630lmrjA+RUx9Je/lf3Q2YcxwGphsI5KKjnEtwaizj/XQpBd/d020c84rdrXKkt2geKvxzNMSdUZ1cON3FoPY29yA21QE4DgOXygLScGM52ksd3rHxBY6Ut3EjsxkCallAAiWmUQ2mANSY7jtMTew/UwTTaEMCDZFGXaY/zFKXV/dfDMT5jqJysZ6xl3tpVBM0OM/ICTfTWg33dRUVYZPGsPA9OF38GN5JGyRfwzi110AQtH97pDdeMuy9gN/xgNIZdb29/4tS6JKi5JCDO4CN5WrXZRRyxnCo6+LcxUuelKHPu+CPF4qeKHkhI507dvb/3dcg+O5s/IVKjSp5Inj/Hnur1c+Blpt4o6CZ6GJrwvK0ErsPNDzaiHySWuxC9Q4tRTyn2HcU/EoI6FOqaW6Uzc22pfvc/xJmJjAknJpW2158uccAy61kRHSXOFDoIN3QZAB49U1NwxvvAqoaHFKKcjtUWC+yTju42vz8P/oVWdrWt/WYyzarLdc23Y2qJoILyjrFizC5ri1aA9LFAHfUPrLr31g7R+16gVKuIIMxtxb3u9y/Tt2kdxQrseA5fcVgVDpr9TEu57/fjH1ddEw0Ng6EDMVZaozjNPePve7Gv0A7mAH6MfUODpBfdV6UrUONaXdj823qHMR19Pxw/lG4uvw3g9dNaqwjfZ+oGtyY5NUfGqh2hYT+B0Ya61xYhuYay5XfzQ2ZJzmHbjDdCjV03gtWJd10g/QohEfPqs1Fs75zkRB/ovcLnk1KERNey8hPUWZkdLifusB89KPkZ79KrDvG03cgUi8jfslLSCOsFAyEmeII2/URA9WxTkGhPzPyqWdlF5IlVZcmaVTSKpNcmPmvW7G31a9AO3oGibL6Npf2STD/zfld4xZneT24JZYHMKZxBxne8JbcytkI9/GybWXtZAxmQiC/vDm5miNw7tCnXsoc8TZj+cH792AGZ5IRwIJGRxFqiSxeJJzvsm9rUlEZ+KyVQYVIOK6S2HauEE0iKRax3QUhNS2bXEKWqOwyPt/wBj5Kz42iWWCZ6lv7VD/BG/qvp2DSZ1FERANLJEnYU8buf0YeLZHjK+jpcM1WvKUuUZsSUygWy0n+LR2Jz4ZZF+tLafIbQeOyfGMmW6pLJt2I/cwd5WgKCKhlRoEqlP74MG/ZQcyhlTHDb2itS0lDMUtj5jsF5sAStZ4j5hOXFULKsPJPvo8AtoNVx/TR3Ik+IQWs/d9FZwJSN9rvgBoWHe4syNeWDnFNRFVXPAgyngYSYXRj8Q99uFRJAV1HB8UPSYFdSl/lFU/IrHkHmGddFnFflvXjQl0atHPUZH1lFPwg0FCnes2c21y/spNBWv2L0w1k8N+UDONMB23GDqTNizoMDEsN/YLXNIR61M3CZo8AIXnqDnIg0XhBYmB3gPYu12sPaB/No15sobNaQ/8fSTQy9SlidhmYZOF94OTCZgW1V2dLi4gPupikAgzHbAlD5gd9GESyDpVGVPI1IzYHq1NVhIqssce88AluoGFzkoYFXEkmg0D2J0EP/zglOuuz5h3QlP/fCCQquAw2l1HhvFxCGhY3NhLiyLbqc71/tuDiVuLpY+B/hQtSQfzQWrX3HFWNBRce2LFeJlxokSyEwrUpRx1Ttk6DfQredQfULni3EpKcZz+yMFVOfXi0khFKaHV9sba4JIDVZHdlQkN7hvcz7qAj9cAmFRHf5KuEtUHBnCP4edj/6m3dh0JYJcUQC85REDPPnO9vegOhcx72hvlqYW7ildqmFjv/jb+3/Z7RXhGqeLOFUZcrTSg4wg+3zyHzptCkfXmsgiJZb09h03nkqYGMw2+SoolctGlZTj4dV1nfNtJuVfJXYx6FD4ATIS++nzClCR1qIBZTmitdeQx9P+AbNJdzH3S9YXzwE2PArlvIlFOaTnNIuKtQzT7kjwBI7FSN3nvmJn2lS924PUsneUp9BnNitV1ZaRnFDaT/1rUtArtBTl7VBTPijV8Ljbvtle63yq7W7kjWQT0z+4tZSWFbqKGds/xaZ+ODuLZqFn2e6fYLjVa7S4GKR4my9q1s+duH+HCpWrxNBHiCsCcyhF+YPWynKh6k50OKwmTFeM/MayTUoSLXSJ4d0R3Hv7YNA5J8f8g9QPtHluQWEP0CYwQLNXUiT+Jp0lf5LPjnuJOp8rjNYKH2fJy3TUYhzTp50s555e8vQJcTOBKzYDuMnA0rsQCdskL6WdxKViHb4F7paJukAqYoroQBt/UG2yej8t0MJVG6z2v648w+RWhdTFWR8myRFMwJDZ5Bl1uK17xGqH1H7Bc+k0048jVNyJ3+uIkFBdWks5sSsxPtTpOBgfIXp1QkHd8D2awfwdfjDQ5rFJGdICJGIu3XLgwTITBFQogT7d2SmqAm1DeOlK8VKeCxKv9IjAdGaXpXnzy2zJD6qoKSWjwDTLXe4VCbO3R0ADFC5FAMNQlSQ66Z9Qcm48zhVxFXbE/jQyc3hLZiD5GiZ5OfH4MKw+eaHWEgZ0jldZTcpoPBnhTbXWRpHFssP7vmv6IhZPdLL5xrBB1gIRnFQVenGJ0ZAjolbOnJ/Z318Lerq4uCg6VX6YoQkXBZECZ+SrVVR90hkPiXP3Rm2iHOkcLYyQPBjgm7Ki85fqFJ3vVdvRGlaL/XBtawKN4ghSiHBBvNHlkrx2uIzPloMPOQ3izS0wV8H4Ryadq5+t1jHhkaPNUUVdhB9TsIVKT3MK4Y+AEkn7JFXywSmwZKD/FFAzU1ofCwxVIUiPm4EbnAPAVIc3wh71kDdweTI/Ca9Z88kc8YJbLO+j6japzJaEWGbLOphqMqN0swjEmVRO7wih1Zw8Cjdn+b0UH1MK+TBVtgnC2LD0P1Q6f/ZYBHMxIzD/fG2SJWuWnrNLj1n6BwAybiZFzOduOOsyvoGLHMKunrBLDEdomjTxiGIwzSWkl9EZY98XC72uJQYV8GmHQBIu/oyRLl9Im6GAL2XfRUNTZMkPotvT7PiyVUYe+3IbCOlvIjxuYnRdHXwutyR2cNEqpHB/Iiuh9xUNFIBOF8+s54FeUcrqzDMjfv2qXgJuEOGdwgSu2Kfmc9xgrSq8MsQaRyOdjmcENHReP525yuw/EliJmXr7UL/J6AIju2dp9KTdfyr1b3SyOBZxLsgax4tIJxP5S0OTU2K6lXIDuJ7dbkN/Dj/7LcVlFTm61013wiJntmxDgZya42voaA4NUg1YF64IeHv0LOSjyJeB1OJynmFdgonx6IZA6r+HMBbEpL9u1zlqBs+JD/XbrOzlhWBThVBVaM6hZobSBioxi0ddbOIfSWMudULX3IG9kH9VcHrljqgzXm3xFsre7oAsFnlMS5dCWYGC6otV8NrpfVw2qxqv2CKUmcUFo3PDwPP0iK7vjmH6o8Mk2qWRClbXNMTQgfBy5zvJPGotTdkckCZDF+pDvdZaRb4j/vZB113wZsw4tZ06yUK/5HSwwPhAudzNhj5EwBMolEnZDgusgQWufNu/jlSygC9mOFZKiRQFFqRLYdWMr6iztBxU0iLS4VTD4t1EJBudqicbpvUtGY5RCUPoB9QZlfU2mOoMunn52izquYf7PBuo0UKOu+Ed/VzQJMe/lV/bDkpGcwSkx6+CX4Zn8Yrm2mzJaM/N/pTt3MsZ0Q7NIpGAlG2Tj5yqacNlG0uD50fcmzkRNFn0ZyB7HTvuL6f9l8mZCES4KFlWojazakjZ1UtFopQSqP5DZAyGRqbaz3lchpzyGMNeGCFguhyKmbIgHgjpPIE6alayilTl1ee+v3Ghr/T9OyNIA1Z+mO+Brn3aMkYXKLQJPpvcPZKPn+cUn9lQpxXQ0GS2TGAVn5QYJt+6cbm6M02WfyJNA0eFpyMxlud/9UoU92EudFCoTN/ywHwXPnMNWD0v40bMhqrDl1nyT8mKGTDQktCmDrYu6ZyhH5xcZsmFkE/gppScnSYyrcUdUWcF+goTEG+2Kn+WKn1mCsHvwFa5gU2JOxbAi0Z9oUzZb1plBDM0jlv3uBvg7GiPWvSWhBgVMGtn8LMOBvBZ7irVFYL24GIfa5ybeENO6FSNKtZu7NcNDLJuBQmmHZ9YWvcVLLLOybftAezX4t3PU9jKvB+0AJt5TzBGAp17q5nYXoiSh1Cp8Fa3CSa7N/9fvqEAUded8n9m2AsOL3YnFntgEWxryx+cq1wTKYyzLQ77KZPv11SImQ64IIFm9iYq6UxjjURjJTmMENAncN725oEIuqgcZVdGl+9ARqUsvoPrDjfMWrqp8Q/IJ5GgPtLgFK07ESwksdXAcA6jTiaQSEc8pT0dtYOF/SiPPRC6b8gxBXNjBAgwLIe2kv4EvKX0PZVIenfLtznjkhgtHzEyP9BNCyUWF5HebCNS+fxJYPkFsZZbNFsTiLWiVq0gPcjYgMreshp4SGkD5pNp976KpAt6ZI5AgTSQs7agFsZfoL79TcuQjHm1A6XjJVLatr65biQ+WmblIzRtLnIg6xE9cP4zw/tMCY1aH6elDgIXh88CAaH6OtZigW3/uVYuWBZkWXSUxR5W1XB3JRv4P5vytgKjjanjG7fubm8cS9gt1I0pwTLTNJbOpFCIMZNyCiOZcIrYQPSIUSS0wszYVA5izITjztpas1acGuVAqwogzyIAqDIo1y9ZD/95O/YYXi8nYSRlEMQpB6367KLsYbmi2b4MiFL8WMMPGhoj0STrYoIr92ql2pW1kFBsoy1lQ5jpwqVRSWaeSra6D7E9hyKMJVugV9LSjNvy9b5/EzQopp3mUqyuyBuflQFRfyv6SCDHfq0quLIIGBqb51y7qB/em+XyrAlDVZgf5XNFfdPamYcVe2iPpeUy4nNEXIcF8agAhy+Vmn11mQnEKPJYwmjZROGOKtEtzkmuyaIfxxqS1mi/CNrWXfDAA7d+J1ChsrVx8mKEcooSpgMDSCITDu2MswL5DUFG8TjIWw9RHvM46W8ki3FdPAmWLjIwVAy7kbzx3Xevlo5ZceZ7DaytzdasGiasfhRD/t/snIIYBOaRJDZ+E84lgSrtsH6aIOd9Y9JDhkNf8qUTLvVHup6g9950SibM23ZOEwWDOI8QJfxyHL+1ePIb5aIGb0C4ZRyCEVX3mjfD9dE7Qp0MEFURLmdrFgGkBbtzPOLhqRKogywJKU+sdjkBABgFiagD38xgMibq/AH0ofVH/O/SQg59Vd6Gislk4mwPSIuizZqtFReIA1w+o5XzlW+3aRxI2Co1hCTD+H/x4eQ5EOzozRR3UPSYsAj3Wq1VC1l3nyOTvVv7XPmnaPzETWvlaH7sb/U+Rsjb3M1VR/fYprFiwloEYcyW+zcB9mlRfwB1nJD7PuDPnPlfPg78zN5/R8JdnNjuJcZG//kiPC2RsTYzMLhxhBhBvlE+FjmHUjYGMwFH0ihlJJsS2BteVH6BucfbkP4xyoPxrIQRPRri6csY2JR5JQ65B/VPJmQq+LHdlDExQdptGvsrUd7K0LUN7E4wZKISQuSkbU5KdlCN0xt76f+0kyXi0QHDnHoJ71XGAGTlp0esagghTtGvYAjS3cSrYU5Gkn4R9PYxqJwoJEKHuomvGokfqN1ts23jrayggb+XRRHamoO82BMjek/eYYvPo+zS06M5hdAcRiKH4JKaVX/5wD5mRHwucCHPSlTI8No9zCDHSiuKFNdSbFLfCFOS+ec0TIAEP6rsevNYoou2cCROPq6/wt1K7JxOqVdsiJCfIT8hfpD/F8aiCx2bllEUNbk7vkpxiHB3Oj90hSBB3h8ec2eJHSUEDwCZWY/myHY3gO73Wg1N7L2XkzqL/gH0mKiQ9l/IEyy2g39jnR2hDN4BqYz/3yGvUiYWkbXvLZcLbJTW528i2JnOZdl36a2LSx3U8xCHckNlaByErtNCxWQJDVe6DPAnc0nwdy4feezd/UTktAih8Mo3AB0nEinpfMheLIPHBCTpiuq/apONzSoLmox7mK8d/PuGeLbZsLbsRHiBXIsm2DrfaXox2Q2xtUXTv7faR6X8/pLiMi8H1kb5CnjmZ5pm23i1BaYI48MJb0pt9oQZYYUP1agWtT/O/CzeBhoJT5OTSESGe6hrvY3KQuWgrKl4akT0AsjxaacfW4iwE8cwVn9P/YOrnGvMFrySkpDch/zf5fI7Wx0be5I9MR/OJ1ItCtJMZiZDZexo0sxCGA1Ey1zdcbts127rMxlJzRJ1CriilY3AQXKAXABfJIHXhV8F0eodc17R+RoGtPAzTB/xyD8a9I9GkxB2y2GCq12Hix/bYgdsKsA4IQIRXnMkUiPM7rSGQ76ULpVYIpo0UqVHd0Es1uXGUc2XLVFpILX+OqBtV+klJecUeJGA2MhONNF/A6txKSm90jTkDawrjfkhIN/Fu/nqbD0mBGxFXUkeUsUUPT0m4nDPkh+riYG8V7vv8DTFbZe8rWVmkqyfnTSSW9tvnvqFiE7C+F1/J93qDKOzfnoSA4LPrgKhcb3UtuVlcMuBVn3AQejZPziYAPw9nNCUJFq2LdGxPgdJAPe+609Cp9lhJr0Bl09DY2KOBOi81akd4dMlYyoTmv9r58sftF48Llkecz2HSi8u/JZtzkfdENbOhBZ88UAgKiLNi8nSa8tEgTHzIy8wqJd0+9yZvoP2kyjJhZmaZi0zYcOAw5Oo0f+eGoQM1LOYuE5pCf81+p8Wmw1ZUq1RvTC1f53S8EplTf6B+smVKzYjyYO3GZl9Sq2wJ6ZB4q+OREjmspqRs5e+E0xGXhdGHQYh4cbcvjp3R+6co9D2rNvwKjiMJ+uSzTlPMZsvkMZphw1ZqcsVKR7IC/hrUkPghdDbcVNPFlyacY7ld8gIQR+UMX1iAFNrHhNSQc1W84x+vW6ONtiulnZRUKZ06RMIx5BUbvE+15xeSmU05uFbANm5RnIU3y5c9Kzutd+eVWFMaRFNuP/OSCP1+3iD0vr5/HO7P4o95ZPgU5H7w6gVlxcjk8O1TRMZ0EThm1WHhAF6jnuI+RozBX7weaAOZLzeFPZWsMXIPgOSXNN8IWpa+P7qIwxKQZ3/3NX5zTdUr1iYcchXxR6qw6OhknPCXzv08XX7byTk5nHCZlNbZsOnbGBpt1/yq+9ZWcrkjIsahC9Tfwj3/ZPr/amxyhuCOmqC9wkT+Jw0tCTpegRaNUZ+qBUWx1MbzZwKIviDaM/FS8kG4m5AJfBqASkUiomthx1knFV6eIRc5eqZgkno2WqLmhp1pcH7/CdXSkjJgGGZpukLBzaEBrC6SfWPE2bpCBS6I0VS1c9CjEMGfk/jS2PjKnFWLz47TEtwSvADLcpTKd0AuZIlMm3VHtGsIBlDncTl53WunDnAPLCO5PKhyYdz0WEt+cOcU1pTC+fVCe/kZMOvhcnH02yq+j9AyeK5NYCW+D/0RpWYbLGFYSp9Uh/iAT/4KZlZGXNqtsDm7/AzRhv/ztzs7mayi1JJi4fHzYyX2EFet7ghhW/8ixkuLmb9EF88/KChzlp1WOlfG1MOdTk7HvvTqgjtxGQ+OeKuBoKQctYZdwEXigi3kkNgKhH0JHLjsfn2ClglaWOHJ+dwseNnkUerNE+yPjkTFlQ8RvMvIGJ5CLkpCkeuuFItbp0QIuo65c6W0TvfaZyruzOSFsNf781rtD66jdADrRTVrxK81ETaoMUnBNnYSS0HSJeAAV519N++97PPg4Y9EoYsLdezkYU2HG++vBWVgd1E8DNdfeo8ruDOAlLhOEmlOq/49ML1m0Adco04J2G7R/cJ8+XNvrua54kHWea/rhgE+6SVGzPGtpL1bAsGk5zXTHGJi7qD8EZrUzNZWv7BHXFI0lKR0OPEONjQtMLHxDE34cW/bM3CKjP8yr74rl/cgEYea65lkb7vLlsLnAU6xjJlctfVr9ENCMsYTZzfbbT3f7EHH3T81us/w0X3maIzrw+XYFe9K0ithnHOALyoNxUzcmmuc+kSU117Vz9M6yZ2VPcixM/aH0v5yCdcackauwTWaTS4er4BEdTbmDncRbhBt6QEWtKFsjg4zLYC+7oki7DBVk50wmMvCb1H377ixGsdg6R2PXCqxU5h3zvM8ay/ViRC2cgZvjqxQgR5FrEHMX+Bmnw/yyGjZjMPChzc5YZcMi5cJykpzfJYiOA73La/yGCsI/m5HjGpI/xggEFWAtCbsagjwsUpRMThKN88bulZycUeUs2L+LpW5ee4vcX9eMCun+DBXw1TX5sfcg8PK12RBVGVrQhst0lUXUnzyHyudoJUJd7S9diP/aYnt4vZ2OCDBYUzeAM4OEyzfscDEiRhzfLLsgpaY6RPVsXcQ/3A3GUz7C8b/iTckoI4h+6bspzZeoAiJxwAs2+i3OqCAkV26jhmV0fDQpK/5eaGy5QfexFw45mfSILjtKN1hqv/GKBDqKcQdADYdHP1D7O8yvj4MOvB/rP23cGP1uDpPllLl+RhLhDRBLLZr9dyYnAYq0FpCw42CA0s8eEIC3B5pXoOhwF2QufwgakF4sW1KGLq0iHncRp3IqSnHzlFQC0q5WKfCPJloM9kqyytNZbLBtfRyKB3nZMSf43tAMeajExZJHtxRFWMRpspQ5OrZCZmUipxYt3auMnFlTThb8xLFDsZHbQA0jmvh6e6MG8pAeqlGtkL+O9jLu904BV8vN2LEetKEZeF4mL9fq6M355zE9wlSzwTps9gRnLzVwZjrChUgZ/H3qpfsuvJr5WUZ4EoMzsCEZIzKirvG5vCN+v+sqi0Mr/XFIGX2hRHNRP8OYuXCFGc1dQnEWFHY6UvAWALnuzuxZAXGKuRjdTT1IWzAPATc+EUUjaC1WMl9busPtpkSt1F1SURG7t+FyE5ksUKhGdmtjwVvGs2KNcuf8fKFyucI5mSQDHfHxACM+freAsVQHfdPO8eMc71f8EcUaVZfldLslrby20R6z2/RL3WVFfyzS+aCveU7RHqJ7glPOUMKyFrItZXeQavf3Cc5SEDMjo7T6+wjCjsEt9db4WWvgiVs8/GHCIuLV7D/Rd/CH7yQD5tCrj4wjCf8cnWUAQUb3q23q1fhcd6UKd/6uW5vdVQD/IaJjjsTYy6qc5ZXXdFNF4Fw9SxhuGrTcr5Y7fg1tlIb5Ou5/7rIRoywSjqSPCzjWZ+MF14fVHoHeQBxLTk7iZV1Zo40wsI9E3k7/8Nly7u5/8UV5H4bGfImoD1F37mrzx9K/oYed2699PFNDMt5EYlTNoZFj03vF4CXv0vJlKGxMHogcIhRie3dJy7mJH76dMvz1PsMWqwlzKlOM5t36HWtJE1uSxassEXH28A/T+N4UkX6gKCSCSMoWO3tURBE+LV+DjMcfUOEcHJgmUu5lm7um3X4wVjilu2MJWqWVF9GY6AkkgjUsNzOyOgwTtieP7wNIon3AVUak6EWv0+LQcQ5O6p517PKFrPDlx8RoZ9rUwYJpk0L5b6/JG8RzjZW6vJuoajmYzPu4tgw/s6sUQo9UvvsdXiV7NcYjisEKeRhZbl4Yrsq2R4Nmq+5SgiKctniWEsejXrvso/bNVTQscL48XG0fHkzGBb+wY24T8Bji9lEcaQBTltWW/BjQS6B0INI87NTAaqDFPl7NDGyjJMpNByMgZJV7ZmXrPastS1wU1f44oCvyHdBkl761zJava4uYnaG9dg7b1Z4cQPgjmghL47X1yLWf2ks/DdF6KhVurWfHGQW7ObnffNyre9vmlyLcxwbNc9RqEjm/4nzqOlUW1bfleWnkdOBtil+Df6dyMUsGMXXGfaMUUf9b0yygSGVO3D225yhLRWKmI+oOyn2Emu/cRuvvTPcnf3RQxz1YxislAnYsnUttthJucUGNHUH42+QZYvJjSlg39Jk9iWljgzj9LdrvHtC/pr0CAhTSq/ggQU86A3CjCB+JoAZ5GlrUeTjWKT7KzCcLtsuwxACo9Mby+9Io9LGc5sZEVnRMKZQZAv2ifdCvSrNkY9lRNPGtAJOQyrRHH8GZJxll7KixLHCTTjkD+V+fhHtcUUG1PBRxmZp8spjMav3lww/3gP+U5A1gozMqyR3WYoX+4lXh5niy0Pvh834rwiflVST92nq22y7X7miHnkJ+hbVH++ZC8F9gq/tcZtSNpjfG/OyblqwW87RNk5K48az3yVKEC2r1Ar14CVTISu2Kx3PjE8Lxqz5gx/ZZxmHo0YZ6LzSw1p7Jo/tzV/eTK5UA6ac6W2c4Jwb0kCitGJ+a47ikXOYxGD9P9EZvEr9/0OkXi8Ay7yFUzCUQB8Oy/t9O36o2MpkdK8hu4J9F/3apMamtb+boy37cXrI6TCcXBeDQOrRczykEFTG3wGzeB0ho2v3n2UtDHvl1073VhAGT0NsscGvrDrtb25Nx+yucZ8Ltmk2sp3NhipEYvrQUwwe8CdxNkyJ23C3LiyrJdHel9iOv11DV/JszCf/b+L7YnyVVcvzkMPnnmECp+pnQDd1HkHch+CaprAeLJ/P8C11FIqVANrkfzuV/sYeBw0JRxCu0yWdzahTnzSyGearFe23Ub3Nlx8DwiN1y1V4PXLYElXSnl0aK/MobDL8AeI2GyTGWye1cj2E8YfY4wboTzMPRVSdrmAM5FzQzviv1XBKNGNzj22LVUyeh8kwflkhL7nuJOqhZuggNcMhizrlyfPR51jPG3Mf/+4gZwXV7+MpFS7GQLHIFqnvBa0UPxyIgVtPlrhHl9x1bgpWt6NXl7x5wxnlZncb8tfRjgHZ5TBNl5YWvdRt1m0tCeypCJX8kA1EUph/kZ3HKwkyQ/3cPI9KspECJ/1JgGcFjCB57aIhxKApcwpd1pAb7uLqnW2CcPcU3fnDcaeLn0mm1uegc/T8w3rEaU5AVnbHQ4getCh0o6/tLevfvaIRaTMsnrteE6laJtlnTNwzKaO7RJvCIljeX7uN1LkcwNn4+mRo72oqLk8Agwm2cX8MSrV6rLYU644/zesgl/vvewLJ5Q121mwgQkj7bbTi8hCyKSyMFP8Kic7ZDTz6WNy1KcYozJTRh03cI5K1FqzS076+ZE7cK2eTELMI7LzgGiWCNF1MDaSYXnQ5rkVlMBa1GYaXffWf0w0TUiWPiD7zVUA3bmyhhXdC3rwEtCyEVD6yvoZpn/WbM2cjQCCzoNrO3JDYGM2fJVRDoycKr+51TCfcLK4xyzdvMSGWt0tLinS0Neh8CIedTR0gK5VQMhGE1HxDA2mYhZgVLKmzaOGI4wdT2A33qQn/kFYcdrj+oWZx8ZRLysFhdXEVi69nREqtDUzKjzLxIOdgXKqy0sIl6pySIOpJCq1XJ8xFdVfwN+CLjov7+92dB1E15X48F1yuWvWIcbMCY9/Ts1fZkEIL1PQkmr2p8TrA/FziWqjp4ZiSrCVFM4vlde+XBoZNG6+/H0JFb+9cRo5NojYlqcZvmcnQLiK3YWNn2iE2evf2NGrHmnViW5FrwXnSXsuWkHSsyYDo4Lpg2aGJc0p1WY9H3MHyMnXZtxw3217RMflpv60+CJjq5S/aodr8TZB+eFM6qHItkCYFc+29XDgQYzvfOK2xbBPwXkBL2v5b92KOQEUwGQ9yiCu6OPKp0eymqZNzj0rMO5s8hvfTua6R7jiZf8v7bkHlzq9sp/4NHHnlMnand2jN31KyYYRHFORQgBYHYPmGrHgoUlDB7L6bt3ueZ1hcWLo9DJfYaZ7wSLdw+oMwCefojWWu1BElKHFOAv+io9mzJ7ui8zLYlz7yk1RZFeaxOXvgxPO06k5/md3w+5n5fx3fE6hIlN5Qw3yDstce9aU0016mPq86tsbxyIqIULJSAJo52SRroe8PoSWKAtvasuAlZ+FWfivBe3JbQy5EYSJBzhl6bCw9DXdy9huc/WzVIjpZGrrCBaR4Pw7S0FmC2WRJRsENWOLkCh+wtvGSlyOzw+TA/Bq0wqXJmi6S4a3krDVQ5Q68AsZG579BclVOXJhTpwrRcsdFtfiCN34vRK516wvXxcte7mTaFmeIN+vc/QYglyFmKW7k8OLFHsqyJN12pIUE8rBJJ9DSuyw1NJxB/3hhhydQHQdmb6JEEhG9Qx6tkUGXkQ6/AeI5/2aN8ZDi8d6F1OF8Qu0+FNHFBqM71VOAgSkDgbcs19o0qyruYrhYcEoTEM8qgX+gL4wuB7Sn1fig4hCDwDWuMheAgI0JUR+xj0HZ4/nhPmlG9NhRX7gXor/8d8LaaY15HopuWZtwNopdHQU7c5WE488OpiUW035w7+3mnvNFmlzA0vDruh0MKkoEPVjdOycEE/sEObB5tFUq4v0Y4OqnnseVSl55uT2p6+0zpY8VcPrl6WFR4qUq3JfgLxlXEWkrsnuH4Ovw0P80U0nYcRUG6bjrtzTiF2+76ox5rB3Qdb4kwwHkzhUe13mZw1UfZA0DQqsO3cW4IZM3PoGxtGd7vEFja3ZbPmAqG4TLDlDGjOW4xJXfg/WdmMG511C1D8Pmcz37YAErpEj+YLbgrTfW5063nyqB2Nx20kraxytXoPGDhwfegZiW8AoOeli+UX/TdnW7Y+ZOwxVV1xxVTSbIQRP6bUgroS1uOnSeaGBNY7p7MSJ2oGkLTq5RZiQoDCcj1hQxKn1HbWgxl4L/RXYtAnCcptZz3FUo4TOYSigS+7DO6YgWKEgJ9y9MhxoQBphl/Y/GsktLtl8PT+2m1Bjqn7XvZDCePxzZ765vu7HjQjzT/MTvZiKxmtfGVsxWjR+wz0jkVmCvgtj3OaJkRJONuyuAeRtTGn5YXxlU/3KsY/4ADVyzuOHSnbYEg4glGrbc3TSSPFLDKRW/yz2v9wclNuy4+FsWFUkCU0hm880iRGLu8ZWGZ5u5NpsILv5Nk0gr+ai7Yc16PUkrvGIlPU7000Ckn8chhBWqETg0NDNwEW6GUidNJWG1YQkx+BuNuk9yhYcjpSSKuAOlmQwFnjUFsOUFsvucfr3BZ72tJMAAuyMh7P+FJnhrrYK1p/m5X/Z+n3SfMJ2lOXLbJ8xjLDW61kEtIkyWKpOqd84ioMmmaU30Kq6Q4B/vvcPkpTUfjx28YHIYVGKghPOknU5e7f5OPSKFqnqTeUioBEDfEyNjwmnehjpLbkq7clF6xCxz10n5v0SI4zpqW79hWHddyB6e/qHv1hhRoXi0nbJficruBseHo9dex/zbL7zmJwOAhQ4yiWNh54UVi+tC1PAhsLL9uVJSOhZ+tj4GeLCGDgAzcNaW2/u5mN4LfVRycPKnVZ9EB8FgzcWLS4YPGDtoplZ3I6a/YoFhzC0Nsk15y17FAWMlq0ONz71VF9ecZQrP/BXMyNQW5jA/6Yt+Ab0cFE8zfcYsvXzvIrzKoBxyzneoTONFHgGEZrLCw+toTdrs4KR+G6Ih+dcAYrowiUjCowm+qhH1DADWFlS/ytKCaUNW95j/XSVYIIjDmKXEGybwSd/2ZNC+Vc6g70reCMIqfRulygdQwD/6TPyfUzpPOHvwVrZh+YLZio0RM1es8ZxYDN97i7CVizKjFTwzza0acuAsHYCilKJzTGYrCuV6fXOete87QtVESNPH/aFSB/zpMuvzauzE8OUoYRZneS+ULzO4GVaci7pbny3BUWI+vydFI/xl4D+g4Gp2PscYxlB7lFjijFwXa2YOTlf7z6P/pLq8f8p/4Ua1I9T1pRzI5lweQFZLEQg2Xtkx3myQZJ3GMtC/ZIcx9iJwk1zc+CUeYx2sh7oRzNRRwQK3F2O+ic9055hso6242rT0yBp1YP2EQf0Wf+lSszR0fN3NNlE6Iy9OCSKL94PW8pTKhbB/NtY27VWNK3lub33K2qRh2W0hQRogkKtP5Ya29+vpI3IrTGblGc4eSMZwdEW5wJqD7vJrdPtqxr7i9VmMYv7EGsgGKpCEBhJ6shPNYUfDWhTmXwHU4CLP3HKJT8KoqXoNiHAYNbuhmsB1CHeTXPxqPbXdb1wS7sKeWHQC51fUFmkvksdwCEewImI89s+AenOEg1Efbh2GgQWvUmUrlX5DoBUdhIjDEWIENMYCMR74MYZH2JdNPvAf3XIyyRNGICe3qXxB1lsHrfkiQbBO7O078LdWXbPTh3x63XBIU75B0LfHHGv0D3ltuB6Hu1SxngO4Zslx06i6qA5FHVRLhKwdOZPyjoplqpxyNyiE8EnTn6FXlpuigwByprdIFT3xD2Qlc5Snc7sl9kQKlOBy92R2PjjveqCZaylAl/FsIO1oRbT38zuLt+pqjNCMU8m7dx0skqG1TdygMwoNN0LinvwmlGFJD4q/v5W3Y+XNkkmEE6R5t7Zoo39k+Wx3uj4lyOPBTxuaPQOw54uEBm8GulyBdaAP0M7HGBaesErFPLIPG+kPm7ZMP4KxLNF8pXXi17+yYwB9EDNCVxu+8qE1vGmg2zZ7GZQPovtwBINeQMlsmdxwdUOzjNB+jw2a+eQAfW9rD5PLhjI+2xe2R5wflDDS0w9Ch1toJv8XP0oi4IXVAXWfkXuggnN7BbfXgovV9+BPpdwzqdcjg9b0ZOyt8u0IIZv7072ztFh0QRxFqHka565CHNwaEzI0s+clpM7/gVIA+vWgwO+ppSWXeqSdHkiC6Lzx6w1J8dmvZeqn45GK0BrbkW53Pni8MDa2LLIlg0etXhBDEPYECg4voBF9nUWYH7pKSbwb7tSNl3sBOHrghlxBoNt01pRWRuO1yzG5b6vpwh4sICdATD6QmgBq1CPQkFFGTBu6W7AQ8J9wj9035G+tRCg7RBttEJndwbiYIW5c+edozyO0ht7U1xKuCRc6gWwQLnLn6sjn960AnGU9zb7B/oFutogy1+JDA8DPAdT6JDgA7zNtRfrzKLRRcf0y0ylTLitQezvTKsPM96aDa4+H4Az9frZCfo95VVJDSSkJbS2jx/n0WZ1igrb10iMlPF7F6y4GCU/E+CBZUQ5pe/M1brmlYLj9c8sToWdF+BeHMxcuDP05/cTXttA07QgCmKP5ZR6HBM1jk1Q0F6wlBJixODrlgcK1c25zCOi5cQZ9p0xE/5+FVaHOnZ2NuKKRkwWJ1+GM11PcQwbYpZxUISOyrR07mujKY8xxxga9HdNZTHKFEjmxaRtenhV3O70rmbjD2XgXfNZ/4xwzhEHuzuWBmNQ6w0ARbYNQMTbzV2ta/B+aQ2bs7KtEY5CaVCXMYuEu4ecrnl4LL9EmfxEJDto+L3bV3mMK4NaCEVTLGqpzpGaogn7o/OyylZlvkFiLeZU3k7jirlYPZq5zo4s09nKlZOFymtOJ7qr7cm6KilXEJhobqObclzM74kSAPnvoLMD3eYOVJdk14WgPY2v/OuBXNiiPL1KQBHGhSKxUx4NfCWG8c545ENaB6i5h8qHBrZ3RIPinHUIj1Dc2g/G/riSWI36Ayyok82n9r18Rurif1ha+dCav/Uk0rFVLuq+s3n0dPGFLNK19pEXKiMXnmUjiwlur8ezj/Wjb2hoezTr5J8q9j/7uK+yTLYEkv2fWv++DrYi6FeZWHkGLA5i9XYiR2HqGGG35tHhMHeEsnmxgTwbTFKOZt/7YnModNA8IuNlT9MJpZt+ovZvLGs6XpKpqpBYlIBWweXxV4DIUPmGUhhftCaVR4Xod3ueBGAOLcZqbgaXAfkSESS1L1Oof45XsmLN5UU3TR2lRolHUy7IV9xR+pgVQwy/szw/0JDNwdki/PWw2Ga4MQJ1X+mkZZuIosGsew8XYMr1YpWMZbJDLow7Ug1C3X5krUoSUIYSTeJce0tymWqTSuMqo0YM5NRU/NAlN3k7r5e05XLzeRy7K5Eedb8VB8KwvrmrKY5X7a8SVv/I17KeramdKkl8/obBB/XLAPLD9zfcgF1iiAVE2BCk0g/xFMAydinohasIgNdn12w57P97BOEII3Rbnl3OIhbw6/7HR3ipnU+aQVWRIb87mlVa030DpRPav8DUEHIclF4VfTzj5ehFCoE4SPSoIR2/OxZNaGkzZ4q2DA3qeomneCi7Y5RoCWTS+uLE85aHZmTvv2bP/YhtlO7c2Xi7O+mznG+9ZJY8zS4Qj2eNtxycnuT7O2sOQwQVt7V85LYZPz1irrkAIQIKBiYTvhOIX2n0/llIl55oqODjr56GWeE/Xb0MEqZv658vdpcugTsd4JS548UXG8qJD/lQFVqS7/1JCWNNrHxjKB07U7QxTvrfFwlldZ0byF6ZegjzXa0tybF8OIUVYbXYByU1/N18eZSyeGIszTqRRxHQBDMEnn2goTCHHEicYT9ZvYAmiCD8qpmMH1NVq1p5iAnev8YQU0tdtvjDqbhHowKSwmQvzoYDiZ59jGFdbEW6BQ7pnQqkPtQZmmg33Ex13x2CjGx82yyHNpHi6bhTvRxpDlNzaPqC2yU1EGRDA69qu9CdcOIZoe6h7ST7Tiil8Qr+WgPwL+ypSANbTuEUYCM8b1zk7zsAhLjHsCO+uGVQoCVDgFnBUM71mCWWivoO6D76BxHZ100Be+oPRFMpLTh6d2IeibGfDweT3p6H4x3DBcJ8biBFc4Er27v39UFKjuR4HPlDjWINT4eUeTS4qi1gXDSaJLlD6RIVFqOtiyLW+YtiPIhs7+21e9cZjO5SPhZKc2BZH99qCu+vUWfxJB2gR1dQQJubNLpuSTcwGUMio8Rfs+FkAWNeeQWaRWfMhbJ+bM2/jHgkx1a7U75XN4I1JXJsAOMyiSJ82j4xm4MB3QaVxXm5/Gpspd0yrUUEyf/aT6kBZEDD5cMUH8IOt+3znspKFYNgt/ORkd8BVjZU0ZDqIz4hT1V0Ukr3mP7Nli3yHBvChZVCc0gxwGOuuGuZcs9w+75a6U3/MP+3v5Ww7T3MrdMHiSJFzmCPOJ8AvJ42yoVLldKRy/vCt0e4XuPjqpMzvVev8qJBOIMrPPBNwilEGwyNePB7a7MjCtRf/2mV6JWMvSYnZKY5f0eUXRy7k/91F4vaox2gQI1AhKLcCkHFREfbb2B65FPrm4l3si0LOcHeoLs9w4vYa4gMHL4zmqzNcg3Q4HspIN07/DGoGQhWvcfct/WS99E6jgg58Ysq+Lr550r/YB2HbwwQjYhtWsek31lF0YpEhkLCpdfJhqud+CTLAXJmkS+b0W4LN250wcJKO4T9MvdW04TqOi/vtj+2D/onats0OqIlM5FYk47gwaNptts4GbcQWSwBxc3g3ObrYu3wqFDnwbxDfXVHgH/FA1fITApVuAbDlpX4lmVLo5D8WSa0lD4iMsxUkDq8bwY8cl5vLy2EWoEFvAyNxvhhh9y9O03go/JXozWcaGyfRcaibORTSPbh/BPSkSteaBqX0Wi5DCnyRlVSc5v+YFlUyWh++IXQfHoP6k8KwjVmTN4Ft+MoYn1PZ+KXk2sRij1eJS3iSM3OlfH3nwsSD6y5iYMzjB7FW7fbEH+dqs5rPdHCo5ukzJaL/QB9RWkn57dOr3o0x8erwj8ilwqpcrtBc/bWAowdnmqMBCuidmf57tzHdDj1UXdoMdQyNMfYt3Whfij2rWcFhv+amdcmOyp0CQusi0Q3w87/q9s5FAzte8fXf0JZXJy9w+nIiVQEEUQt/GsoLBcq02zuJMedZLT0+6naEzANmooCVSXTbCoaQlN4vVTu3Kpm3W/52Rc9kFR4C2YPxM3ehtWOp2GMOGGlCeV4EHkpiBV4XfA2EAq2jB2S51HvjMobZXoFcYNh1p0hueu+3Px64jDxOVmCsQ8h5piUbxIhg62ah2eASwrbNU7oHocXWsgr1lDYQblUUXMEy9lOgqtq4lyzs95ux35wbtbeE0Xjxj7RCl+NaHXeamzTXjCqFZ3wXIfIv9UTH1SUXu5n2sMNvNK52Ttiy0XPz2N4GBRMeoQMMQEzRxeqoWytl8rHVIw717dezzeYUp23e8Hkr4OlNktWVOvBeuPxkLiCEZbYReuqJsuW/pqEIHU4YLUO/jwV3nnObbSQRpcQE9nPJ9LyJNnQu8AE0Vkw8p0fdoVKyVpJLqS9hVBh2jVYtqO83Yy/LA8NtSV2vQP/FI0gCBKiZhscQbRQ2KDj1uETU4e9qoZhunRkuK3ytb18d0LBMg1A32lYdAdtE0tWPtqob4hdzayg0d/l7R9NN69z3DktRvlmOZIgVaHxhL5c2wCShq2KF9C29pabCRGiBQKqlDX0tMutlGqUsjqHNilGDzYmaIMMF8m8UA16ZWXg3Y65gSWihAwSlvDWhg+KRdwRJTetn2iSlCOneu2ttbLQxwZGPQpKBB/ORi0Hi0QGAuVRYZuaJJDONXPQ+Fsm3twY+hr1DyrVOTeaFVXGj4zQVswyS0sA9lh/V2Wqh48weO+rAam8EomweLhVbhUh3MzZcN7GnZQxLJaWinhS12GhpJEV8nBNptDZ9F2vUyvzS/pyHNUtn6BY9NYC9rb1cU3Au7NCrxeHca58E2G3zWoLQBGaAnw/btqj2lJhEVjlPKFtc4b/tre7ZqW8+MMb94yNelaQizlQG/lZJHaGm0R2dR5lyl+klhSeWXYEfUHNORbgPGiEBeWDE75Kb5lxLFcjMLcYHTaULxkg9/8Znxfc3w2oAcPOZyXwOondG/q+H6wcMSRqbzoDt4zJuGFD8G+88eot9kGTxhK/fdNyBlFtoDJJKKpb90VJ6RdNzMHwQiWrSAeV6Ejj7v61hGbO2582MNX00Zta0MGhGJtKt6TwEClD5H10xDZPdtpQQ3xxFEb2Qe9h2dYBwV+RZzsl1DP9Kqvzc/xP1SE6KUka5cXvag84/zo0TGxLPQL5iCVh/5u9biUoNRaUmWC+zkVa/Jvd6iGgL3VHrmLLcIVbWFCvl0FZBpF7LBHPB+962JClwXfLe+Lu4aZjRKLQ+V/VSng8LkQX6EQy/Av7oa01M/mheKfEM6dMeKIQ+mDychJputtrtKymAKYQgzV+/w8+1IrPyKaLrI9JEqxWTwbPkPxUK55iX3K5kiO20/kRx8egIPBrBt4C/WAMLq58jXR+jHzEF6CFqqexZ4Izt+HiPXoWwmRc+Bdh1j24qSLXxcWMyqlA1yM2lb2c13bIY5KIeiSrp33geuGMXxZXqMx0y3C/MPaq676Yth+ZXbypbIETd2KXnWgcsJIl8NKeeK9Ekeh+5gcOhLc4QLH6akwvQb4IzoLdcXN5WlTqT3sUMjToXM/cOFwQiLLoRyKmO3dhUPr3WJvwYtdSernENDJCBnlw4ldbK+vn9FfSOICAw0XcBiqqZqkGpfPY8ppBZH4WF9mrVtuSbsEtiliEAoZeR/q13WnPCXxOzXtTQnZWNO9Fr3YLBmuEuPMWicyCN5oU4yCHy+GclaB7XupfvQXOIgobEXaGHsLu7cdlVvvRnM1w8yVAYLrCj7QqrFqXf1gkXnQMDZc+LiPGp7rOGFEh0vCJFXNvZ658HAKKeoWw5kT2pKgV4iQ86sv75klbX2KIR0+haFirKO70p7X/n1MolRD81bwHJX9xyYg+pphvvELBwDKFG+QB4Eb2Vn8aZPnWn6ES9Igr+P3WgrEY447KXzWoxhQIswCu+fNbJdLk0FaO3AEhw00dIwycPg/M3b1YCL+f71jI9OVjvDOuQQ2nEU7JXCtS8/UC+3/eLp2PO/SnKz1zAIpuxcXlsTtm4XeYQccVDGGOYOEYK7JdquywxbAwSPPjwgyYT0RJIdCNA0QETIDfUg7OFWI9uLtrmwEBE4XHoecAcJlB/ycmwZpPdJr7d/7ZdRBur8p4lVIpum8ATv16zPCCyvk7KoewR+WziBAo/5mNJ/cqowwFzom4yVrgxGQpdeb+ydKRc9c/6HS0PRgZftitgw4nI+oZXmG2bGhzfTXmiRDashV+Xc93jhfEPAJRN4yuLyG5ACVk7AsKWYkM79dTyTPVUkbDYFeNdbc9uTcwRfjPftVRzFf+gPT4JU24H4IKmKGQKbpuP838AOrYK0EJV6chEcmB75GdhwAgnEM8b3Si+BbZzfvMUabportzcl1Th5rp+4v7u47u/JEg+V8kj5kxra6GbpMC7GnBTNJMnLeaws11AZyKbNdpUD+BOl8GAYgRZWaySeWkY7XMblFExvRVshAcFqIpbiCViGwDSugjrA4l9aWKGft9d5SNBriSKH6X88hJlVeTIcUie21YlCAnwYhhHrP5lpj65u1GniswWR+NK+96UieJY6rX6slqAsC109UWkAl/RSL+/n41wST/Os7TFBW+eVG9gDh+D2pXuDi7/fepg1OItdHR8q7QqdRjtPJsnEdzhuEnBktARMOsANDRxYIvVhSRe/sGRzGQ0lT9A7u7vdq5vCsnr0PJXNmnLwOFjGv2BCQjFQN6ooL4GQoBeZpLIAwQrRErEcEcwSOqWDGlsfUBY1Ewl42YDD5ZRiUj+eq4MoHqyjIbQA2xegfYywzmqMeJ9O+QLxugiAp2GZH2dtVNSs9Lhwmidn/iye0H+qHYvepUFE6XQ6HwTnNQwNlulL8pQsLDVXgG8vbZ8gep0IS1DyAOuZRDP5t9bhGvh7wviB1Haagwc0SKHRIHr0OS74nenX82zu60puSsMKH76c2K4UzKilanpqkZGWjkuysd6n0Jkp45l3J2zNIxYmjDIzHXiEx3MWPgafTfBdEHiWUGEIrDYcHSngG3T5iT3KXuM0pQDlN20p5hiuX7A8248LetRMDAa/DasxpuqRPnAyqE2kUVJEa/RCNR0VBVX+OIktzQYt9gDgG2fV6ap3WTLHDYBlg2kE7XaDNHEMCBcfm8EtvOziXKFD0DasKKEQ5UfmEzjevPiB0Vm73LjB8eduOavu4hF2A9bCu/JCF/J2/VpKXJbDkDnTsHP9ZoW1Dm7kUFcwLJVLeJBtDBs7xz16iDbNPtja0f9CcdLHT9I7RpoCm4XK5dS7Yqyy+GRFhCzhoFtk3t69CBjGeYUDKqLn1YoKWRMKysrHwsK9vzrSgc6MdXOcMgnZaiPV71cqc+8/FfyLB+Tp/wAi4f3tZ/widGUs1rz7l3EIbzWjuK6KTzT3aOEPFFOIBoxspckQnBttHpBYb/kUkEl7nWg4kGUf9f0MH4eAfKWMDpQRaQ17UikXjkcTNjzbWEJOMK3F8tQYcv3u8K/PjTyTUdp6M0DcBN32DAnR1fiZF1HjxhtSJOQi9g9TuiPXDxMDeDO/6Nd6DAlEQPf50pRpXsKg03D56JfDRe6J75s0qv2dB+qWjTK3ljzvYCTSV6BfISjEt76cPt2EDt5YP3DHbaqMMtvKkB5fmlSyhcvbwfmVFj+6Tm/NKbvUOf+37Px7d3kjtuWkYy+uVbOm/siUYFbrNBuiglulN13PuSZgdjl9jLxVZtH6xdwsNlKuqPoUYbM2NFqnzohW5TOrSDMWXmIMC9GdmdxqRcb2/xzEcFFpAaEpr7Vc+ol5HL3GQPGJJ+lXrFRSsnsEWvs6/+PMPdJvCJ4vrDhKs/V5k8jsQQwJ0iHyZ1qts0GG/ELrjfH/4lgQIBqmG9zsHhx4u5YwTzJ47oLDcxCS+9atTpaExaiyHEMgQF2KchyUAN9+kdNnYzdmMFqrPpnkPkuxa33YPJs0gU7+6tGnnrn5Ln/KbeUJI3j8iLa7qKoo71hDWqi+/Rn9etFTisQ+WkPCdg7MwdPtWOl6WugBaMO2IBu2cZ/XzJamgBS4oDyNx0SbHHZqR/BtRyRmH4PFuhptMPN1KORLlgPdjCa2Pw1B59cYGNirgrr/4uBYD/2ltMOlyU4lFw0JQnsBF/44CgQ35asFa/A336X/uIeIm3+/8oZ8WT15hn3GTu34xd/Lzcs2OE9g5YgnJ/7SLhAvAq+qNZ6sih55CWTfZnbheWR3k9OzXiAuEGMkhB8HvoFaTRQhrVAPdi1uqe1NB64sS23GyFti5KKJNmEKOzaiiaL+sOCpSMtMI4DViYvQK+neH17WxnMfN0mKZ6Qt8Nv9reHWjagKEBat09rynwG167ubHGmhMqyResmORBB6mHs6bHQYhY9ev+4mGdXMV/etAtAATmbYjMu/Q6lG4hA9BlXwav8m38fcNOKyJMU1V90hqfR3ztvCPpwIAwlGXmMO3YbZVusQdreR8T+EwbEHm/LQwj6EWn6wf8rI4uQPmy81Xwz4sUGR4fbaUlEwsAxqLFUX2/SzccpIYJHbgWNH7EL4UlPQfB5ZuKmErs76G60UQjknxYHxAxyscMYKO5DNxTbWCApoNn1vvPdDOsbcXIVMyeTtcDT8y2pSY5QWNF05CtJaHhFyXn8etSn7Y2iYOvD+t5+84OvwsK/pr89UqqzCwTA8k8C7iC2nBYz3jNOaZraF+6qZ4TLjcvtizDfrb9TjRRgRR1vEwgIkiexc24LRgI9p3TCy1DR6J6+zVD4C0wJTNQGWgCYzmGTBOVFqSLRw98yd5nlgE1Iz6IhYqgNh55LC748OwNrjpIkr3b+JS4vNRxUo9NmRBK7ANzORCugIdD5+JW0XV+qDsoOZCCY0g0aUq9Pqs7mgsfmUxzXdt9pnXRBqFkFX3ar7PupD29xql3LXqvqsRz1jIoBCUNdxvcs8aZTuLAcEXRCg2JlK5UKBeuutoVARlHMeDICrxQYKbTWppR5jbFc2RlZ4kpLUzR2cXD3rE96NhGT55yToZBI0PY4fmoNiHLA5PyAvpdd7lpqzoXRMSl9iScsB2h6AT8k3sXLMH7Is5t1W0NCBnx2h7eNgZPlFTPD9iVMIRnaTQKhKByV9lSQPvI4K/RiTHyajfhJtC4ojdXUD6xPF/PH0/FKJnv5hnG/O3yIDjIAu2dM66TH2yjeaf8FErjWrpPQgmiq4/zzFvGxt4H5oNaPlh0uzFY9nBJqBPI5ieR0+7pYY0/rxiTeEtUew5UVGWM1qqIX9PdO9T/949H4bKy/b+HANlnvYHps6NaK+anUEt9BW8sr7/vt+KLS1mCKMUm39szikKJE/NQGLQT7N0qN71Tl9OpTftuIh0ifaQ8YHPBI2W+KV5KjKPJouhQn/nPFbBZZiDBXNhWctpqU+pquBUGD14JWw0k/V0BuQ6sS5+rmZlAXGBpjGAi9CrsVk+KCMlp62JykE3wmadEbgD6prmFdNiQIbJiLnsZJbBD+iUW2LZ8sTSkgoHrx4rLNH5Bx2wVqahOlPdTtn4lFje3DBH+AHMfWihvRS6hZ1TjeriDVjK/OA71EPRK0MGr4GLxxn8HAmXVJhxa1d5Fmbd6EfRV7FdgCqvYpNtM4SxA/kix3nI1KthTbwHrTkvY8VbuK7p0tUkLbV3s4sGH8tzvm7hxTEHvFawdOXQGYObAmXdd+UUQ9QzIF30s8RJhgM3NP4o0yoBDQ5lcGGTPybG3YRvRt9nmzA60v8HwRiUXzgBNy0XHUAMXLpXzCTTDvhUcHRFf6wo9zzOZSPStXTLYm8jxS7umsRLp4kXyUL12vJLSprq2CG0mdWsxY1B2yl3FQdIpdrV6zdWj1XG1vCfY5pdwRxOrGn99Dxylk95yV7O4MjDbRAs+aIG2q4084omXxkX+mQBxAci8iXhbbk2vS2ocYz4PdsPgT0MkNgRi3oKgqlgHBUZkwgjgo7v5eB74PvxKmy+bEZJxUa/PUaa76uCik9EjivV0X1Ca0logmWuxagnMETC05+hkNF673WasJCt/ZRjd91x21IoKkIqakemOxrQagPHiOE4dlz1CmSKf9w/P+kQUffY/DuCioKI6bKSbeRKjLZFtYdDdOy3oTN6qHEFAehI8ogeSBEl91JB+yjgXvS03ZBg7Jn9lR4mNgUYDHNy4CoQulBbjAPdtI21wfarJtlQ9dl2jtfgf4DZ97zr/VSmqrDkoWbkEx45RNfY8xhHBjxt+LOLghe9SP2Ge6nV85Zb5+7if9469tn2FpzLeVmr59hM/YPV1GlVgh2K3oBWr+oXiLKNHJK9RfAz6K2/hs4ezhMSqorEwr17jTRTjv7VCiEz+8WZaUOdGm4ON4yHk+0It+AjBsHUUFt1ExxT5TdcNh+ivOum2XNR51m8fPxgddIHgIZQ7I6JCoZcCZvWjQn7Wb2BRDGfZBJpRR7h1LJZVvn9WZ97i2PZcE4xUrkKcJhHuyFujIYDqk+q6dl8aFVWY/xLVaMt1ZKu0bhP7ymaeuhKmuuxIpUmNiJN0gv4yIWwdQMtlTGFx/4kP6PPHdpMUGdkWaUiiSfmsY6syrLiT9KqYEBxxpE2BFEppWXopdxoYj0XBL8rB7pU01K7ARifCsatVp+h60TUpQ4KE46H9Gfhz80AwnNWQTXoYPLwRMrJbJYtla0JJ96D2eNwf+iyF3wWRLhF+JfkSFt5QrpYg3MJSF+AN63HtT2QiTrVq9TCsAuHXgFt5YdihWwo/4d+552jiQxoLZhHB9F3E+yRNMz7mt/xq2n+n/p08lkFrWaN8fpOlhjJuWgAKQvV8jWN9oAZrHSt5XcIAjB4vF4UoCLg+65GCF/Bdq31k/NC49VVex3hXrcbh2bPquKFExuFzCV2N96I2hdK7lpPuZ/QeW45x4KLjC6EI9Htj8lCfRFnmlF/Z4XV/udLhFd5BGyLyYuc5O72qgz5nM9fG3s9zjxiB6Mm0kQpOWDpANVzYrF6tGD8Z2XaSqI1CKpzWQR00ZpjzId7wJXdRNkqKhOPk0ctSWrC4bTdGEKiEN1Rj7Azy4D942Z0w79hYgD7uk1CRkQmBnVBFKmnk/RvmGu5Kj49I83NfLOINEab9PSYY29fH7HU6wL28s0tyLc0mArc5qXnL1rNrTtfmLuh+JIHuZb5quygE8N68SqFsXbZgaDE5eUg8YC/bmiqif2eKmDe9VHj8vROHo4SNrJuwHLHlnTfjLLL8yPvJ7j49fiB7SDaNiK4KSbvjrhyFF37RPnkPHU9ux8Phm5tZuehuWS66lsixcxDE8ikcEYaZe+Oa4cksiuNl67suxgaio8kOrTO58jhTXxVGB3uBreMfOqN4pE22YI6ycQ5mcjgOKY+elFxZbwSq+bXpq507a9qSt0wkHNvUS8n3uUeqraX8bWeUqkpZKs35uMd0yJd92k7b9pB9P1Do3guU/eNa6Xil+/KzShESUM7+PMAQyQ9tT2rrxs3q3rkimxSOZS1PE/FYf7aPUHv5Iq3SATVaGyiFtr33ZOq5BcvT1QV9q7Q4+chXbTvcxTYtLyxFKKACGNczddE1KxkH+6TduEQDCDxdnMw5RnY2g/fuCyHTuh5dlw9QWRkU2qlOphxzZDwGPO/RRKXOrRnuMJlveScPJiqOsRIuNSOaxky+NC0loCy9nDAXz2g8tY/2hvoH/fVkG9eE+4IQ+z5kXhBaiZd6vp67Xs8Jad+i2t46IWwK/+80rbAYtwbu3/6LG32794t7oFaTLiZc5EsjUigzL+jr8l0hWh6lpfXGhs33JJbUqRvlZG/grSuiI3dTjNromcVd65bdsxdZmNRs9+eZ2637FxCHcjgsfPG8Xttb5KmSOODdgHTvhlNBuJlsSurg3/R7t8NwBAhf7R/wLNm0ITjtpANsDpPbXbDj7DgfgBS+eEQOkmEt7eYbnNrYfLzeuM5XmYBks3tY8+4HVG2nV5dCO4iAyIXUYEbEv21paTyhM5BiB5VrIJw3y4hPrVQoIN5eUJc/4/J+RgMXrBSYllitLiQzmL8PzC9yCahKPDlNTcxOye54xEgeq3XOFQFsr9CrAhGLj0loGtBHJFEx9NkxlEAMD6/lXSu0VtW8ZHXkWwQNW4u5KdBZn3fOVpjaHYTmIk0m82v0FS59ouiZtWbeFvFFr3X3+BRuwBuGUJ7/os+cTlX1ZX1wnieUubIfVzYFnuSmuiAdIrxgbU6ZW6wdrkjS3iqS/B0ytmoV5W0Kb4VEKiJs6wKjq2wybwvCw8llZ+imOSR2DjZWAF2Divxg7sGoPUE0pPn71MMdI/AUQNE0ds5dHaowdfX3+m3IXpxONuREFPmGOi8LBlPBYXrwFvuZbbLT4lUabDssJv6xaYRzNkQiIOBiav6em8PHngqDOUj+lz6PvbMRdBn8GbtlE8MTe1si6nju+EwvOdKamrOIiELFBWPSWHU235kb67Q+DN34mcnbA07zxVlwkGQAbCfN6KBKIvevgWoqV/mNgkNLLbiOMcO/R5Lo44JZLsm6llwZXt2LcTZefRiMxHGbwrZHgJYGLxvGVZpe/nDvoE5uxgNGCRsnVy8xbjeiPBSkE6lS9BCqkoveDldwNe6UMmlywvoHxQJ0S/sFR0efRzAFR9WjSG07+lMl2BnkjxWLvCn6j/xMl/lASrvQkZjwqrKLHq4z9uQhhDddoeTXnDGMB1w2NGS18czgAtQ8GT3xquY8hllyV4+NWI/wClUVYnD9Z6WCGCAmGO9dXlh7w7Iu4/tjvvFLZb0wtCl0CGNE4cKvgk8qyW1MghzqIvt4DT8X96J/6MxxL8YheSJQAmzanWTMMNtqpwaCYkFxQbdqd3OzJrerUUL82oS0HgdHe77CCoQ0UBZLeTx+yMBQ+/SKuNlHbPrB+v2DCasIvSjVdavInCPTVKUUrDTykK03k4+r4iR1/pEgqTaarHCAMwpVAQ2Es1ktTa7V4peBIPRuW7DewSvAj9JgZpdzkBFbAQUGBd7R8KvAjNl/miWQOYiNKi+4YNoiXCw9Dc8oUyvvbQphksyJ69mVu/6DhEmuD7O3DIrvEgEn66ywEKZOWX8gnsck9EuaRy6lF20XZX5z2sMCt8hljJ7Iye9gzxrOEDZaem3AAC5AWkvtrpC1ffQxXfNNS621slIvDFvdAqwF6K+UhWf27fT6nyY2HfkOlGw8zWTwI/vnZ/wLoA6WoCYQWgNWNphCKzvJA2apjkZKEvEQs9CPk3WacxsAuyvbQZwDu5s8SthxSaDmF4idQ2jqilUST6YLDdPThBNHUQdG2RngwX4RnU6Sd7ZLfatSR90htBnv3p7xVpkDo1/eQc28Xcw0kzk1CzYbNbRW8jhw0KbTPoyhLaSnsXLUY4yrMzqpV4oTLiLEz85eapg6aCffPnJoX6tWxSCsW3z0VnB4zpYpO4Tvy6+IZQ0BQebx/nxYxtP/6B5E5NIJGErHTHZqyB6ntHnZlfaz+1ltOj05M8EdaEN50YJxuEL8TZnElAN3T1bKSDorWt0LA3SmalKXCLcE1nOZm+SDSiEHM8JbDbSl56N0jkNN4NL/JGt7aZrLJbyNKvgRQC3pC0E34mobZF/lIgye9I/V1N6Qdw5m4t8rP4s4h2xDfDIcK+uY+bZLPtQNGheuThV/IPwnfS20z5AN7DkF7lgum797isShIr4FJaokNEvhKuXGz7kBiPkfXRXi02Wh5rC4XymXMtEhy6hvrak3SEePtPm21V5YhnEPumOxloyEyU6QJfpbqspizidFxjMuHi29oqC88wx/CpqwhYO447yP/XQQItng/+nolAG92Sv9gnUT7/r2C7Mm3Hd3NhfH6A97/mZolPCj+KEGv2as8u5rrmefK9FMIROxsK96aUFHPxDXKYCkeCIWrKCiOy2kXmWvIcyz4DjBwnOCBdNNX/MrEHJEP0IIzwN/JvYYqvma1xj6ZnPUUPD8t1Icj8Nr/473vapmfpIz2wOm67SDoMEX7n/8KWVJIRuOJvkfMXSdNcLsfcAJooBcssaDzovzNEv9vYFFc/QRTSz94V7/hvxfuWL0jACZHFx7BigQ979HS+bjZDDwmSeqPgK06MU0T9LcgeJHu+xdTFn/JU+A7KgtglQylesbjSECaceCkfqWFfvCUExViX4K4/SxcV7YW8/6Ae+c/sPtWePvf15KUR5s1pCEcYpGAQC8UK1L6pam9ObyWxt/caxOfzubvJTb/nta7IAXRB+DdORclsfxtO6bavNqcbCq9nO39Zo8FWk4plerSbBuPoE9Zj+wTvuOrjxrOYg4/h2K0hpq465s9B7f9+E0xXyKA0CrCL1aYq05InBNamz8GOZkoN4Tz+gSe2DFI15qk+zRFv8JBbdQUvDShlzXpd7/c9MrhF/Ejoi04UX0HNDodffDWrVBlbZu4xtecHGEU/NZxPzFhI+zPatQOBgpDua6O79f52Q8qeJmXyY1O+EGX5UWkvMeHy/DuJCp5On5su1C7qDYav8FPLXbH+4Go45oimXPE+I0FtDjcPOQKIsLQH8mCDyHi+Uszxvj/3NDlycDgttIoe203gizdnC/JtKmUJbSr7Fq66jMMWkK4mUc788tNW8kMjrS5xVTVyYqHvtByzhyEBoWj9dxqOPxBtF+h+WLtLecCOqzA73OiTeVmd8l18LYqj2byLy4wS3nNVyFftpbYfRcgF4DTkCMz3/bSZm2Hsjb/kMY421Mm2rLOffhQKsKr4fOoVvXFJxrnSEDtjJiQ28SNbkuQUPG929kFXxyqC0ZIzZLgFdmKOalIBeLqVp3KzwRQ3IlWKunMPqb+TZCSPRP9cdrV4QvA2NHVItgUflSs8GTYkFMNw0zOVVEHavb8c5dgK0pyoXeqwfoaRVfM6oHn/BE3N8aTzuS7V4mvs6sOnjp1nTETfepin/98PJr5sLIWLSS73ylCcYktZU+48MhVs6T7M5FD77jHMtvOw+zmLx+cgS8K5FvULOEF4ek2XTnUx+Fj6nAA7jCvCxwoUfwhR4/lHBSIrTVzVlupQIWJ2vpiraw+Ve2dNMVcBIwqsWhUqRhOklVTrb5OJLi87crB7BkvkcB0ZlrNqN3Bs2/mV9JDqJQePSy5GahQ5C8m6Qu8MVC9KuG2SIdOd+TIt67NIiEhe2h3gt5QvtpXEcjyOh+8MDyleZd1HLSNaJC2BzmvWq0cH3JP63un1iVutOteuuVWVmK7CwsQLInGVaEMqvhZT7Ofv/+AGqRPnqFZoanV6BLpudeiZ2R9lZlV8jkFtXbbkPw3YWTLY5v2sr4VUaBwRHUH6xKILaD4Um1KPkMUT7EqzJi4LCqfnjKM+GWh6Vyvqwsv9QD4PF+626K0yOhrMIgJlmFpMkzK0u/nRIa3BmH3Y8v7UyaHtFj1Z2gQMMnZ/0wxtCUJ1TIw46FaV/N0/DHgqi9qALrHfwJm0GKvLzDSQDTiNKL9BNo9i4rg8MKYatL+T358MiRHPXf8t+QmCymTuM46YXK9nW7CCQE8IUobflIj67CC4J1cUTa8r/W2cRvniCj3pomv1l8XMzqMWDA6vXd0O4MddWcusUJZa3GjzWQ5CAoqR+zPDpIEQnivsLWZ4Qd/Qged+6dQZo0CxTbvSWpiuF5aTuBtMINB/DD4cm0H2HZkwygk0Frn2awpdGqJkHRmg3+pJHbiIfjB+HZT8xu4tMy/Ly2ycyctzVh7C/Epr+SsSBdjX9RIuwfwRqG48A2+sCTdKIqAHWl31XLryJqzTPejF2G31fXhiR8SbNWPmQ5FOJhPaeScH/g4ftBcIa+J7ngFfxjGCYJmR7gDVmtQa3Tz2C8wuRZbPSuIrT+PpeaFI3/oeTexglkYzAM6+TwmpOx5gpwl1YryYb2HcaZhrc7tjyTgjOMgbIIsQpUllH31I5QsjKYWkwzRrGxjiQgQkYVwL94lHqO7DPX0zyH1ldkAFuNshkOcj4ovE7NmAR1s70kgJs6Y97nrWg82sluUs+JBNO8URvVMWt338VtVAnB71MFgpGdSIbp//m6ITOveq4azTQANfAAHHk8lcuONMdAvr5Anbv7yHjNav2TrFlbSIibnEpD9/IPmnvZUl/4kcsjd9pe66YuMpdXOog4dC8N3NfMgWAF5tn32atUjIw5VRsB7Bj3C0f9AGBUKXfxG4AsPDeYoiCyND11AGMsV5b31nq3NGyviAJhVCTOrIf7oX52PglDqireGzYdmVgVMQxvYAoob+0qMJbMG6TyvQLFdSpU9MhhjNtVY2XPyjpvqiXYJ96OWYMDmx2kSHDPyWScZ5K+Q9GCFJQ7mQalbESNTh08MnJLxXG0Ybt89OP6wRqrc6BuiG5/bZYLHtK5E7NiXvvVMXR/mGxtIeNXDABtjR8scoQhdU0tnF+u6ktIW6JfKclcKzufsXBL4PPnMzeJ2Lbus+JgowKE0gj6J63VAwBB+8C0A6w7z9mefWgUFkaen2k/RHhwLdbjSl4ixLqw8L6hZ7w5KaC3dD0y0ljEIaa1x09FI5U3nB34UvOgfluEtj122KwD1GC63gFpdWE0FizbOt6s8RSh0RIFHli+/VxnnJyYFLKo+Lr5Wzs6EDhbZZdr2782Syih7/ZZ5vMBJ5VCC9oOJdVJMnrSLdM5BiAHia8MbBC+PR+6trHE8+7w+7BaFOM4mjUEyI2sdg0Z0g/Gfp4o9sBTbpQN7TeEzyjP/dOJZlpQT4cpR7S86uaFJYvcsQ21CUEHFTU9rMRBiPjnMHSvwQjj7D324y2olA2lPOxeunJHRZDvCJAalf11AmK/Ty7pQb7aIE/ltvEWbpXdcZAdHGbrpjxEjnDKG/rKU7mX8bbnQcA90DKTp/5vnp1G/EU+wVV2nNcd5RGWlJNw/JDA+AnxLlWEOc3CHpiUZbNaY+58PcyMv13tLcSA3BhrgAW9sWZ0yqcf0/UhOYnX/JrNMq4exgFxzfu7Yx1bkpBq4WcQVKHHrbKvS9Fn2tkBoBaZdm8AETa+8jRPc8psAqdAQ1OKnzSzP1qBurwIMn6dCvfu8o/0ROoB4VsoRX3+/HXUGdxK92icNVpSwkJ4kQ7wNnGSNASPmX12B8fzyTQC2OlhekrkT9sv898Vy+C+WV4GDW6j2oxYnsg1cqtjAuB8ZcuzfMMaHT0IYCcJC09JniIgypzd9GyF+L2XNuT5wpWIymPcK7Z201YgfPP7mQmWCg4lK5TH19vs/Etgdb7hjie3DYiCijVptnJnQLY+gqgG2jC925QnDizd+YssvoTl3NcRJEaboyKOMSa8LllVWYm1Qwb/82YE1CaXrHLD3yhZP4QgZn3tlz57yEyc4GJJRkLOxJNvsZtxrsTfVYgYAIDT4VOaZwsMPcpjkGxLkjTK6toGRCdjdUEFk398a4dg0X3rbPd6pN5onn/6gE1JFHjr7ymvzf54/06rrnvVIt0RETDAgI2Odtw+hOUaO5BPmD1P4Wu4+UN4nw2hXuQQpiN1PfLyH17fTR7OaWMrWQWf29bgv6RrGg/UKCXuNYja9JpL8+ZYi8TunkSS8YqSQqiyqW158hyjEfGob2yWYN/e8zi1HMkz9HUhFh0sF+daYg0adQ7aW9uIHx4ulH0SLOhpS3OJW7+nd0vg9eI15eiQARUmAH5iwnyIket9W6rcBj+NeWGbTKg13EB9R0U/twlRMlPaRiYeYNiZ3SouHGueyi608ZCI6rIS0pzmDxZuHweSygejqqcEDvSUNI1zAd6v0T6fM912rhgJItW7WJDZuc+EOeycx06/c1Dxch8F0GEjDI+S9BefZdTup47VEHoxHt+N1CBxkygPVs8wmenVTYb9ZCwVAmzHHIlhVMmLPa/pTslieRmZMbVWnqEQW8+5wj+ZnAEsjFUzE6ktUzceb2gXLCgwL+jxXutpBmG1I9rX4gkP9xT/97WWlLH6r588jV510iFhmUk/gmFfLOofa4cUKwoIEayOOQ8k6spRVxMFOy2CvBjmFhgVbwRuSlpxE1/ibdnBZZ4/kzPGnp4aNPLDlRFBVKhL7MRP3axQuhcTXU="/>
  <p:tag name="MEKKOXMLTAGS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EXCEL8" val="False"/>
  <p:tag name="MEKKOEXCEL7" val="False"/>
  <p:tag name="MEKKOEXCEL6" val="False"/>
  <p:tag name="MEKKOSAVED" val="1"/>
  <p:tag name="MEKKO" val="MekkoChart"/>
  <p:tag name="MEKKOCHARTIMAGE" val="FILL"/>
  <p:tag name="MEKKOXML1" val="4HooU0THZk28POP9trq+pbTvvzd/gcV8t56cq85kb3NDTsUhojRA0EsgEHHMH7oYP1SYpn09ysXVivguJdhTvfyVMsBLTGvcX7WPTor/CmWiWcfk2RmY+GE6Q6T90sFUItN+BdkIU6kSkys1oz4FTbg3IAHFZDQQIUI41CPkYeCkR+S8QFB2kPylUA3JsntOnMnXuTmmpeohPhgnOvWjiNP4cCh+z42DRoUDd0F5oEyYSBORxcufULdyqbjgsLC1hbu3v6AK8/KZla0/zJFwYx44yx6IV0fcVWYrL8X7vXePk0vxHZZT83xERsDVGrT9rJOtO/N2KUX8gc5O+9jL+jg1pXSOp9UJM71MnkGEFCZAFUtd/1xOaH8tUoiXos5Xfh4K4FGD37pp2keYasLRPwxzieAwnaAVyrBTfaZl44A0fXBxuAo3nzsXlXTyF73sJBiiWg11CFITeA1GheR1UIEkY8g3MntwUsVbaRLH9L4++pNxfCdbCtCJUSlbsP+9F6EFx0UfrYadFpW1LGUhHa2JWClaqqbkDmt8DTEPAHxk6cL/dqwws5wOGLEtrq8hVJEx5S9OfQtaG1Cv8bMZSbgTaOxmECStMjtO5WhYBZgVPj1cUedf8dYzwPVTEJ+fsYt+5ScYdGIOfaR82Bvm6LwLAYPfOixo0jAsd9SHseHdOrYPMwuXjjAA3GF73whMVjLewp2d/7O92kaDENjJpYMR3edxUhnijdS38+ARCZXWRddUqp8NtAl6Oi2jNbcoFGii8zGizp5l783YYdUyz/ogFFjVr+5f6R+E8viNDEL7jj/X1BUHraEUEkaup4rpb3wLQ/1/+0fmq4t/xKnoKmv/XtHz9grpffQuYEYZwx6aEXnzRAnLAvLAzLGDGyoYrc9L09BUOqETzo1FlLFtiP4kmEBajC6THg9bOZ4PhFEQ44hgbTcdqTBErZqNQHeQATsBJ6/ya71W2M7GTxpTTGhB6eS8uXMs/qLNByiHP+GBdxIvsDrpWCLNOEgkJ5scrh2oMoWx8DLi033zUwI8sSpGZKQff3ryh6Gj5CBMqjSnuqwru/4XDwiZq5ysrDw15cQ6Pzdx301u1czAkfNmQIpzE2Bc4vpNTvNdu0pZJStH49hL+GBKszq/TygffPTTeVTuA378nCZbbb63gUYAzfFlL4ol7D0w2jOK8+olNoaA1UNCCeYOXtqBaY1A07R751QyQqyJGvhDaidgXWM4pUaQKwQB2ZDBbZJF0EMuGxYnccCmhycsasRS+PvGXOI6SCsHePl+NvWbh9rNIiHauSGfeWZHGhMWb8Cuqnymz2mnnH064cNp0OMdEgreXI3fv+CmbTSoWLZXmEg70zBjPBBvw3+7X2Q8x2lFU1xy69N6AgVxN8h0ahpF/28oXu+mRNom3MsKENqOaMaIQfwJ/6PcPr8/2F5QjjYX2PhwWqlCNuaXgXgmq2sC3yZXJDTkqONSLpe1vRajsJzmYm7PL5T/DxRuGYiYC25BHLPRlfEf2ADAiXldIrD9PBkUV1v3C+UWCRzZgeQSWsLOWVECQmxOYPUWCGBcwu2h0RXLf3cJoMKWvRglOQ5qS627anQfJO46+pyzToZo2qDVIktN3sU/a48hwU8j+xEHNmGWzYZYF7+Jidvu1tb7jB9kxTR3Sef6tUJmmO4wld6uBPz3CVy9gKmteMgTfL4lmurA6RZsTDk6Ko9qyNln488VdrlstBmEy+IaOGvABOGcsAzv/alQVA0TIzSPj6qHOOmbMtGyU8XsltfrVgXNsxpe9QsLHFJQupWzc2g3ilL9aPNlKCR8fExuXwlz3fx5IgvnBKQIzeNuSZ0xnFMlqC5YbbWVSAfACD3pz9zqUD0Pqg+V4cXSzubQwevPBDKR/bzq7LDRVUu8e91Qs6/XBlkNLRuerIWTkkxxlT/9YsLwTObOT68CbjiUQoTQvkcyvv9uH64G1bhXe0YmEMm0m5jtuWxu82Hrcy61OS0qsmosDROJGigcGGOMf66SXpopJuZaXKBV+TKF3AW2GiEHZPqOx8fswspqIuo41ak8QjWttOYkXz3Bs5Z4twmt6mOzubpXESnNe9H3be1TfZ/oxNk/yVnMW1+iUFZ2SuX86V/P4tekz/X1pIHhNnBKPptNvl5hNOFbb0Pe7aIdW+ltDLtbcQol532lpbTGvUXFQhJqaE/A8zVQjYTUtEUF2VdxSSuxvn5mbI1KLKkQnfbASJnkaINg9S3EUQrQ7Km3+/cQMr1cKFDNw77AY+F/753TxSiNMWrFW5N5xY3c2Bo89sauqO8NzNK1PBxFX5DVfsvjF0BVEGhGzNx0+rZtb20CGmW6+dwTllGDrlGmTukUUqmfPYqsY9BeXgzcDExMGbv4209NwLKBnf3IWdM27G3Bkz+Q41naVp6FO1A7l6T4+Z8Ib24PzpZmQ8BQmYhD6V1z8ojQdJZ4hlMNDM9P3Mtn/mpkIQ7V/es+g/yKx0M2xYNawn42mIXJDCgAzcom8cTNFhdESuKLWvJTxZpCfVkzAMEnNg4IWwm8bzoORHc7MXRZYsCL9GfygY0MWaQaWooVE8Q2GBy3vSy+P043ZeneiyCPCgbah5VMq+RFf03pS8B9/VNYB0D0UQUH4sALg3WyY/EbEzdw7yZgAWd7FochzPbwm40NkIzVFTXxSUvurEZMOaIeG0Gg01Q0F2Qw80TuIgfDZS+KP6haLnJV+D1s/15q2HZ7sgSayfdcCio+63pJ4Yyvc0nB8ccXOeP7JgARpTezfbSDpN6iaAMOTE97b4rxFeyXMZKeZhGxNgWKicSnT0r1xMuDHJLNrM5RhXqRBZL2LdppJiHEBTqKSU9tLJAOdPcdSK39xKrAzU+jSlz5H0oJhX1R5OnYTSHvGcbzfgPo3tED+iIsTxD3Fzi5FNwdowParw+MftlFyAARgS7G31oU7O1kCF+FTcekyvIg2LkZZVkyfzv/bEObNCqQFSxbxeA8IIJEHNjXtQdAt4v7uRg9GPuo8YMw1q9e0oReBTLnCKmNFx+11khvcVZCZdVS2rv6gLc5mw/EXYwuu/gVRhcAJ5Dh4XyQcl3ftd6ag+h9ap5+I8AklDR08c1OeEbndllne/1LnvGV7mJkoMm36aTUnxkI8jphv/ojgMpMahicLnstwGB4NHti2WMx41EwxCJ1ljQLq5JEOF9AcJprT6TsutkWdAKDwFQpUIuutiqvyaqCz0SFKtfF9+H31jYobP2yaiUQkbGKDmlb/YUEU+wehs19tHo4o7avnK6HjrVPiQjlN43F72eU4WIxUiwPrj1+R5WoAPCEouZb9CYsfJlRbIR889Grjoc/bhCfIGdBKY9crzJP/rCJ9Xi5fqhVxKv0cZp1MuSUlGS9t6tjr0svJsGEhmwouwGIhf8FYuR1vCuZOYvPkfRjw8S8D3O1r/yLUpB2w7zuvtHibZKApc3Oorr/nXjvKGxxiv2i7qetXht1dxeA2+0hVOLT1xaFEMX9ZgnDd9Ov3xz61ZkJx3BrNUzxPqx/EY/vVOV6YBTLhiqastRBo3rci1qSTl05Df1CCBAhAjKFyc1UmosBclfkvdAV+Yb4JLwGLuTSvm3N4N89/669BSpahfWSZaxbmnbt3G/jleqrFPnaZKk5a31iGK9i26QCeEoVM/1hAtLg9AWEHyuYDOZ3/bIsPT80wUx4MZ7AtZ4Da8rBfRZ2EcFoKF3r2XVmAFE7vFxr9ah/bXK23DsbF1Th1n38mNpUmArDyjwWWO6xr77GPv23EX2uspDDOEfZqg4mwGTQz+W2SGbsGTAo0NPgTjVKhg5pJFt4gL+BPBGD4heHvyGXsYA2MZqiG+/OvJ5jLIHuNfcLs8a8Du9d+FmN8ZT2dZL4BTO1+EHV34/mEQj4upqDZCtfPcoU1giJg+WohBnrZdAf5Hv8ljJKkTvQXi/HBxkduARYkC7PGsu3acJPEALOxwZayUQY7UhiIvhpqkw+iyOTIUhrQ6hVTLNlIVOcDyLWnJZVOukpYPpMuGNBGqSBlbW9ar84+oQ6fzLyLsAOsiHSXqhVUxF9AhH2RMqrGXjesrS0XQvwp+c59W3jrnMe+hbzhc/kOzDy9WhQGV+yqfBa3V44U3JijMGlBoJwh/LQ5CAPsNQFgnBMhjyM6EnAV124QjLFOVN5FYl4At8UPr68MohWu5pzlqTSFeAEm8AobrEt9G1/sK2dj4kd6UGvYg/zzWVUJHUybvNa6657Clhev4C9ZX+pTdMltgs/Os/lgKNwg63ajBl0GYpRHKT3Pc8cht5jfwwSXoHirVS91mWh74c5gCF+inWZyraC0D33Qg+tvJ/NtWwlZBrdcUqZ0maM1sVgJ+Bym7miK/wAlfB7koCZL/I/vAvshCJNYcCSh8lz0nG+GpAoCqJ+6Aue1FsHP2f2Oj/jNB+VES+0JcIU6bx5auuDpNKmPXSFsQqdZsHwhqrEBmTWclNCnNb9EGsf4zJlbuUII67bo/IP/k+WtaKKq/TkvAVqTG3G5cYPmALOfqEjQTHUFb98Itke2DyIKIlhZ1YTYaWzVsvACsPsBGYJbWwMgBT4Gsk51mAvyaFGenPat8RZ0BC3H+Eu5yNfyx7Sk+vF1TbJiU3nKDMlkNM1q26NxX/Qu5qSEmVUSewGZjImG+3jh1i0c0eRPUJ/hfCFidclWSkwuXMG0y96wVQDfRqr7cVe1FFa5YAAwo3m9RVX5v6T6uVF2ZjNQ65qJmo8GpALjTfIUxq0nNaJ5tYH+YZhdT5isoXsorFykuJ9LHA7JcIwGp5AeMZ9ALVVjP7CBdg5fxzIydwQuJ+V6f1WzDwIoFOffhcqCJDpPu9Y8GGE95itRMGs1mUpFz7jjcmWjbPLySXAMjrjsMaD1XUG1S89jv6TJ6zwFKWaX8EISUW+CV0U53oWTUn+5nD3R57nwDxCcCfkCjWTF16f3JsN6Cl6GuQk4HKPBh3BT3U4KikTKbO8RKhudQnK9zl78jd+FseEg74P1HrhjnJFeN2gNSMUP1V0VTr5xri6ay2R+PWEWCaplAD9DJvPCnC3jX1FxhnojTUmPC5vyroAC8ENuyNowhCfJqfIDi6kirip64sc1vkzfUMmfjfnGwa+7rSHUtj8dtPOfNHlmt0uiYvQukNmK2Wk6foFT5PfNU0Vjn1S3clmlnNNNGNfSKo6+WGgjjZ1UIfSxqQt4a1RQwO7tI907T1h9z7UOdV/uWNYFTIS0+wTCenXynknqp9CJvCpx6ydMJLC8Xa4M4Dbl2WFmOI/7lH31cUNqdxzZMdlFDeS24U47JtXaHvApZ+xNnAndL0JajscC1I1iLdaK56wQGL6yFNUxh5Y93JL1YDDRLD5IVs/aIVL/Nh7NwRysNCKXlTjYtrWcSCSyKGtS02uVlAPl00cHgGECwd/Wo/GYEo9P2cvAAHIE/k+vgDtboP5timOYYkLimuu/IEGK4krwgVY/zdXfVnj2v3IXEfho4lb9xYaxpZkrjzbpQPz9r2/qyTdlXAFKpRV8QS+iYrjByDNjavHMa5uvJEIgRCqk9lHuuoVFKXHUDd+5uAcd70LM3lllPsjF6oTWsUsTYH2CSw5yC3IfPQkYW8WCbmUUASYc6BMQhA6BbEIcg487jssk9JBWRe62kkuLswZ+jDRUfUZyxlZrqs5NTmv3JrDJLIG01lnzzHz/8BjtvLE6waBJT6sRWLoSDP7iMf6e/gYNXyE4/XHwg+uMm6xQZLaGuvDywfelSfyENMvkwMDJ2e2lo1EnDTFXChvFDygF1qfTOOLALvyDiRar2r7gAxsFnrdgWgZp1SGjGlO2g4yQcYcLJyCMwxA2gTU3OLkmVDK697Sua7Btve8Et/zQDi7M5C2b97h45MvGKuMWAgdUZth+R8TVjjac5v94XU2qC2Og2QCe5XNmKh39bXLvFVzFxhHoW3++QTg0taVIo2u4aNmjzwBb96MqiYGCMg71zyhcw7my/mJGBy9+L6A6XezJ0hEIEpF0N+WuLApbTr1Chqnw8BIrPAQJGl8MUkLqgqN4jchHGcGc2MEx5M/9U1HKmvbzTikCly8/oQVZfsSBXNi2l+PL8+UD8B/3uJmEvxrdhExmpLxF2IoZtG23VTDEp2Cay0l5Be8F/4AOSxVOx3golSNTPD7L3YRvRSaawNMngbdQq7KOJluhXKSbO7o/Xxqg3LpUbhdHzAB/jbNs54EeBboUEpcbTcWkp18ziX5UoYJIqaDriSOOr9f6vnVqHAdlj2HpyblLokLn0YvCTgiec6ByORltej+Fkg/6Qxp91JR/U6BD8gBI5K/cPtlmZ+QJChRGeLNRure1oqzw+eH3wWjXva49WamD1QufZ6VtUGUkvFzOSSXiX6LAp0Tzv0YTSzkPZtgvqHgr2qMXxi5MWCgQsh8pqHgKt5laEmK7j65rb0vnkLmP/+Z8XWEZOq8uFd1eb/D226bC2RQgXPY62b6TQCfBBTQXvjrpKqncDWbg59IX1lWP909nRlaQvKA/dOrXZxGJcJzlG/f3FHt3mEhPGnW8SuQGvMf28g64FRSmi1gIYJ6ZQh0RqRRoRArWdKRg29Qc9uIK3j6ZHJpLdOVlzDcClvQU1rFwQNoyEdU548tsLAjfrtJrTzUMaKO8U0dj1xqS4Y3jHLOcoj1AWSSZ/7BbZarl4Zi/e+gPuyEHimtUNY+peW2CPWDvzUSwf5ZE9ukgRZeGsxQHIV/R9GudXCNg4urftwVHLi4Xgg+SmISJmdeuVvOO1lOLS0Dj0tnPuFrxp/d0SzjZh452DspW1UXfpIdYuze2aQCp6vYRStM81tlY3Sf6S3P/aXwilCKmUKNoibCUpDQEQaCbl5Cm7zKryHJco8GXEXGmZiVgw/zZ84nNY1Hwxvd9iBDAussbOlVJWC3ZJLY5jcsQExpUy3P1bTxwPXD9oPwt7kJRiksjkOm3Mv2vXiW6zYXc0S3bhwzhiLrvGmpgSaaUWMEwOvoyI+8M9iQxdsqciPBCcd+YnXPRfPiR08xnoDSl39Qkktc/GLarciP9B2WkkvI+6gZ5UXCixl9FRWj2PbkElm0YrJoELmlL/uVpKNfFaYpl00XVExcGLoVBicmWLiMQ5XbwT3gZJict7wisNicSgQwGxnT7Cuz2lba8dvAwcPPjZWn+07RKJdmAWrYk7yBxjwVE+yF2ZfQJ9Lg3cj/K6XGDWMnomNwWmjhaai5wQ4W+odub6Tpywkcn0lfRkZLR0arzkXFIsvaLPM21WdOZ/1zBPssEuKhNW6wjA76OM+9DMr0+I2VUUO3KjyAhwOBFNgApToiw6eJSJn0SUsfL/4srkdUDL9PA2Tpg63kSfUyXDXX4UQWJhmA4cVujrBr8OOXK9WIWtuK+QJCE67lpg9SGtlAZaJy4an76amPHgnK8XZWOdmyZxB7u+TEEHW9zjXzNJLYVdHoKUJDFFnCEdHsfAwt0JdFefXtaCvmY3JoPhydU3ppo6n8YPKbRW0wDbYgIw1os4UltHT+PUMzAPo2YPCR2BD/SCzcqz3mIlgd+uFnqOLyQoxoiB7UM4SIzku/vadNbrjwmv6mrKhPJgAG2lF2EaptMvoOMzopJsn4NvO+Y9ojM2Wb1vxHKnkP1TPEZO78m0qtltI0wt6+SyVJ4JMqPcnTPcTNRx4SJ9Jav7t4ho1r+m/ofco1Yo2L1J2iQ8m6VcPa4jdH7ewhepbIN9hJ91e4OlItH8dlmWyLAZA3i4rnWcBDSEHt4UomZVr3jy8JEzHtPDApflFAIyS6rJnL0+fwivH8MuTEY6i2KSpUy74UQzGcrHRQ8OE63fSpgcNiyVqfdFLIWEnxzn/Bh3KVTgTndfmT/ZTrxn5BfdWU1vaF9s0wUUIgZrTdg3YiVrUgOIpmRW91GhRDUgsWo7IdrPoaZXP3QM7sHjiuk2ilACpoSHCoZKpPYxepTnpnv418Ow51ekpUwlolSCfpedgYGFSNWFsppE6lGWxuoN2fapRvt8z3xlfss5vO6ObG9tsjGIliH07owmc29Yok/IhaLDpdPGwUwCi8Pp9L0IwJp56zKpz+4Xokb2qIRvK3d/iaizEU/yse4tmUy7Ot7oo4OSnxIWUgqn7U8GjfHJhfzzs9HMAr7/ng55P7kzG2RsAyo6B/M6x/gwEXOeLzgvgP6YRu9xG68akAuWxPZSwlryELuzwSKf9pJA2p1x80MaOWhZD62lVXKd6RK6hRaMNrFs2VAKAPsamx9PbRtJ34QEyNDvEhUSZBDnxU4FCd6GDgat3RAKJnKhSDOiAigXJyrDVguRqis8NDOeYsoxuaz3cqwawMGyh1XU5FW9L05kCbZwYYEwm0oZRIOoscG8Sy8aeoQpGrGgdBd12pbA95lsaSRN8QxnoVT+Ycwu11TG0AqkKlaPjx1w6EUHihQDJlks3u+9OcB8cw6pSDaTrz1FzPsdytbf/pZ1H9lzDG918cxD0cWLO6RK+1iTVDb+TVcRdF/O20dWl/3fh3OIn7V03waeUyI3L56lr5i5DYyti/dEOP3giX+ke3J5bjeNGtDeF0ysGfAU460ZrFEqh4yY6/kLssToMXIVQzly6gVudLs6oRGd8TgdnleAan0quLqOnSx8/A+j/OHLpBCRxx7ZQYyn7aNF4B1ZGPGVGMAme3PVzGhL0w/9mChBRu2IauocECGO0uR3MDN+7eP1Mt0L5n0NFFNWwk1+eWbICRo/2ANB9yQRhmZ427t8QblggWGTMen/n05tHrveCYpS/P3g2FRONcZfXNod1iWFL1jhEhkFU6ydJWKmJP0fTcpMCYkIBobZKX5GdQILCtN5HiUtf4b3Zuj5BZJxVr7LVwJsEvm0qQ3iFaEH+aa5MSivu0cYKUZz/VCykn2Elw61PlXqS5lQP44frpUzvHtbP8gHR40icPyuLSxUz8Q+hAA/EDJ2jIF8ckvDqce0eCjfC7euWAsVP5txgxfFLgPem2Tb3uGM1JMaVXUXrrMBCdd26dXsmiHe6IsL1kASXB6A5YPMmYlHMIxwsiyHkkXNVBZBFhdMf2Dx9KIbQuEB2n7Bqh5prp9YD8Y0Dp3WJTJUfxOu7d4mFr9h2k9QuoVNYVZcyNaI/pAi2ofpUGXLBsAAbN1gVY0GJ/NdGDhxIyx/No6o/n2mGc7E3miFHz3ZMnqu0lnWyvSEpW5I2+p9r/oMRCalxHFiFahuZQ9HHEZuIGqXHhZDGJFWwrylZEhsR7TjF9Sq12UuV7xbEM9dsXklHRTZWtt1Vf/G3HMklRk3C4B+4cYmj6jbHdzDMosIr5iNb+ypj62kcGb9Dr6iMrRxLFur9UFXYClzH89ic9S5jC4BAuclCrQgQ65W2z46o81eak0SY5pGuuLJoazimL3QrVZm/PmWiD97KueKVVam3MAG69BBsQg5XIfpWy/jerCdRVcyoWpnYlsllofgWWAezjJsQ8IgaNv6liHqNcXzz/6L1Ygm6gZBtihbF/1T7+7QodOUImWdFUesCU5xRgagh6JIkzBSI+uiwhdi6k7dJC7Y1AylmL4v5A9ogeMmYdiQ2HWnvHPo61JJyWlaNr25hRx47GWHaciUfyuEhMFhoLLyEcM0+r+O05AdcU7yzg1NHpxEQD0fGqiwG4Sc2i0LliQ/E5ayrqmn7w1GTeC5O8BC919vrhz1YxKM1VI3B8wBzg0XBYLv3Z/USQSMhPDW0jgEJEpoZQbOny9kYhiULs8NebzMJcFlhpy2KPwhgoc3k0EO2RG+oGwRVBmxxcgLmkU/N+Z9HVtwepJV2H/smIA19kDE2wBUkHqAyxk2PZxcN/xlCtv9EcRvH83bvh9xNflB9PUeNCn3Ss4pdeVVPvED/MIf4EOYtnWkSJJvw6dP0CK8qvwoRwvdZ5SYwsUxWDkPo7X74iflS1AfH6+g5dC/kUDbAKb5UFQV1ubzeBfbDYBVxg9pkwXnjYppQhqAkMiB8gVhU898UcYW/ZO/ZbvVOf05ywu29xQBDfOe27hf3Dbt/ObCk7QIvNNjMHUFGjP19URD2Xypx0w+sqqJjVvch7Ik4aij/a9s6Ac/nnJBvMXTLTMrtGKc7uGA8dfVlkhDLkDgu6Z3AbSD2xsuDx008TMeSVjhFEdfz3aQh4IUkCzTSSAjfkzZFkmH6XxGNM51s0kE4xlC32N2UBLek718EBZ3//zRP74G5swRgWo95A7o/ZgebpjpqIdroYOvFAdcjJ/szDJuwOn5CaI3oYGynmaWPed1GVSJj69Lzp/JsUd6icCOuRjrSBdQ/P5/zQ6xZQqgtS+pAPhazJd3061tIOFtogRr96Ltc848ZbwguaTempG/jvmA9gWIdZxDCo89txRqXB+0xOtP96F4g1pVGSR994FfJN3BjxFIEoEMTaCA+0oZHj2ZiODwSkMoJa8Fgsu0Y2o8KBYV0TOmHd2swrV7B9UitBoBMMK7dtiPNqerLLIhSo3m0zsNhY61gBpTejw/v2kMgQJr7+vVcJ16V1er9vwy8lEUQ2SL7lf/SQIDjhhk4fOPRR1C3/sQzVveS/kQK/j34CmLEVblavAAlbtIlw3TBbaYRf/BacBXqDltJPYwFfrJLKSoDDeiOVDuhN87/IYKStkRKBfOaFdrDjwAUfoj8AZedr1fcVEi9j704jll6GAiMNIl8LPqwOWLYv7RAmRqDnSP/hcunU1ORY249wQW7RfwUMAAhh6jAsDxr8YTaxyjS2a/eL2XZYLhfQro2V/yg1AYJTJpMxaL3gmaVTbHlDpwxkxeJmK48n7d6ydy/Fr7t8KKtdbxDSRBtR9WWVGhnGR7Ob29nvR+DYL+23XSKu7tixQMUAjvrivnnvtuBUD3chLXe3ocbCJDJwjj4Z/E45ap59sCnV0gj39WEJl9TM9VxrybZZbhevz4G2xm2zZnAQZJ3elylcO7Z4s5yNuXeXrHbbsWDO9YaMiN/MaAxRzhnyoN34SMiBuiolaDi3fGx4CQ9MF1X7SoU+qh+H3Oh59PIcUzWkCbZ6LfOn6D2QeqcRHTSHohvRVKOfVKNzJuHGZlZ4b8/8ziFRVeRFby/Lm9d3mSK06gC5/X+09p685j+5WastWDiO1C5tYo6l07AUmLE8imxpB84E207JWGKcvviEuahh0RwWjOh043xDMMQZFRinlp7FBFEnm5Lh5nQqbB3VKeMWRmuE9azza7bRQ42l3zI+gJ6SrXP2plEbxaiaaY0RrnP4KLe09Fny8vFd+IVPxhyYC5P42tpMw+lTtfyfC12Iq8rIR+ev50YqTMSnalbguu+DhY35obl5GMGXzwd62JZ6u5koIJ8psowAX/spQtRYOu68E6fjqv5lmNAHD+fvGUz78mrEbKbINT6PDSCS39Oj6hGL6toeuB7Fspvf5Eh+M+aXDU8aVo9sdn+uymDCVPb/zJlR/fVEF+Aa5GWIA3ARkTRLnGo0TWxC8B6OEWeZqN/ZeQVwLLJFyV/fkBzkbU4CCz9QjtA7zzt+vJIGUjCuxWkOHCjPx4ajdvlrZYER0fIDsTPARCVW/8fiyqZfUqsC2SYMWAgkArrMSRsoXJgOpcN/uPQbLQ4KNMFmPV3FmrqnEgvwIn7pq3F2cwa12AruA+n37oFWOF2tGN61krXRgSfdyRxheAm4fGFLixQ9ptq2Zo8yvyA8mUBd7P+SVRH9NT2lr1Bx1opuCjyCgBoISVwjoxqGIGTHeqKmIWIRfqMGucQgQ5DsJoPgOBstzhwLaUj78T+pDKc3soCpUx5M3U1ygqSHLYK71yTXBl9SxGkGF+x2LC6utAW0woEmZz3TRlSec3SZ7IVlhflwXYeuAN7NKo9uYWwKtvs+p9G6hQrUmCjyVZaXaxd/VroNJxpy43yMArZgYxSBfaDJmfK9LeUR1PW6QLNvPCjQHNWC2JIhhXJHOo5G+zZKcw0TqAQcOuZ1YLP3dPvgjM29nrXK1oSQ40dFtLMeBWuHN9LpHcRYNhKxbXTgEiCSL1tBZKvpLJQVAQ3XYxCLfAmq9oDnKeq7ZNR+MkGLVJi2yXq1KjRHjuP2NOtuyMGPkdtkr2Bu0GIg2HqkGA9tI8eZfYYT3xlgpTUUu6NeC9rxAiWcSoHXND1iPg0Z8YE1xA++Kq0+2YW8aas+2cu3/YKSaTRsAfJ4UOSA6GZxjUzEjTBNichXI4gaPPDluQFTVCVkSeQIdln0xXGnd31YWHggE6VJgwi+WiEEBTdZK4oM3D0DyeY5g9XgW3Dw0zkQspL6M2S3cMFujrts1GN1GxuZGKETnNz9QJFyRzoQSjTw2omCNWm+WIDchRG6+fPVMCjOPExp3eM1xRC6X8a4SECbXeY/Q5WuMS2pot8QxlW07KyyjITwFYf0lENANm1ONq0/1wf0hB/f8y7HT5zlQNQ+0bDaVOGG3lrL4FqZAfFHskOEXy8wGMLI85I+hJKw5VbCKnuy2v2prb2CbU+TQ90LJWSKMM+aNk1PXOQ0tB48xXrLYXXD0LepfhWiC6/RnizuvHBk6t89wHvSrfEwQ5EmyVduddkmY8N3JZkTJ93NzZy/GUR2qOgY9KTkgcDhZ/bCFFzAk5mMj5doL/KxlPEDNXtn/Ko6egFi7vGj+5D4l9sLTlHP7G/i/r9qLN8rGYfSL6dCofuuLRye0H040GjKPq3ucFDLDDOX0CNmPP/sAP47Lr5KFjteI31yRmjsRO489Mq7fjI03Xhy4D3Q/QnZlzKt0ABJVmAS7k+JaxeoEl5y/Gr+14IT2v9oqCMYAjVfUkRMnI6lQjQIQ+VEfiKYdkNAnlsGJQT8IHD3Sy6R6DQREnRSJz2pHHE7ZUbZ9+EPANX6yZkGQLAYRdJ7VdFq6jjWqUEX6kaTDSJkxPdXm9CaCgBnq+3tBQ4QXCDk8TeqB7XeU2duiBADfMMORN7ZRYoJO73/oyMZk56Ej3RXbVdrvFP2Cf4u2TDiJoAYejv7tlYdVyxx3g6U1eGuEBelWzVhZ6CqCT/Yd2BYhqAXq7Vx2kHc7+fXsy60u0bdHBHgD9x8a4MBdJo5QP9S2ViffpCh78/TavJDgaVpGLT/M6LSS2wPjyAv5fq5GfJ+eqnlz2MTrYR0wBA9dzJ7TNzK9Ig4503hNgJXGsbnPp0yYo7tr0HTY8V14QtWK45czRt3YJRDLgqUC7S5YHsNTykttDnZAY2PAbY1n2K938ohzlubhXdfy23/XcQi1zIxhrV/K+1wSVW3IXttF47zeFFGU7+qEkjA46hgVxW5SMMDTMnQZ5HST1whIqGZ8PWxFo/4jyE2e0v5BzGVFqbe05zaEpxFEwdf2EysvbbImXycPnDVXIfXPpc9AwYTKfIlK7zEZYICaWN7o5NwV5em9XvboFlYulqKXg2cfWz4xgSCyB0x09SG6j/PcOVvmQwwCO0xOxI2psVmK3M6+0EErbXY15L95eDwoWpoQVZN51Lnss7Rh6gZ+MHEHBPJHYaip1tnWazkrnwTncMvduK2Zo5Wlktpcfo1SEmkXZVgSZdA5ou1/x9J6n0ahrwW99DuoEp8pm75kk98VX6MrNC7atQRdmXgZE1NNJjWjmj/jha536FyCBwmB2PNEHM+jUONA2DCyOjUGX26oUZg7AmTvkmgazMHsVBicM5N3Ey/c7J9UskXpmOk2rDaR3DglcaWFtdQMlQqwjqzm4HbHZehL+SkPoflte/tl4FoaA2dZWC7kKmYvdLz7px4mzm8LWuHz9dkAZ6TekOqXvbQBMpBY7q3KR19OXf+q4StyNikxBdylsIubTPYAFccpVHowzAaVA4EOZvasJe4YpIL1G8SGG1c/qpZR0rz37Jz+MUMAA9LRmgVho8+EK22zfpiF8CNLn2/DOETo/Lm1XbIfAil+rwl1Id0TFLwnX8SxkuN41fpvxpkcZZbpL9iiyHqwlYtiHHDEk+A7F7IzT3BDqj/Gfv2oUKKkwhEkgsCdX9IkKm6fgB+fW06KCEjqlP0sjrnZvhnXJyOOlsSQzKZ73OyVD17och/zYla1pcjeRyXY3UJbRxd2cMeOCT5wJKF5bGSUBbhLc5Has7ehaSDtvQqzKwGmDIWouySBi7ickTn2Smkwyj+4kYZm6pIXJOt9NVVy4ERNWYP4WXyE21BhMELQcxKV0dwUol6v4klh7UpMG/AbVFYEuKT1ZFvDtmWGIOjNB/zEwB3fiUayBGSO7IbX6uz3xcOtNf2hmfzOuFNBaI2MAdWluxc2IavSrOic10bPGcLcq+1XNLN3jYVv0D0H9DIyIiwv41nFkyNvLiwRsDtpYuToSTl3hUSkpEXOr6Hyhsn0t71EAZd6cf6Q0t2pPEX5YCWuWl7M1T4fOOMpxHAcRPJPO0GvyqwJpR5Vx/DJvwWBezmH4TM4KoXeNtt/sbh90enjvvbweXuOB58ZwuH7nMRA8XSAIX60Gj6apt1KX+IMU2Dx+8SmdpTt2auzn/F2zaGo1yL2mUsSPxYMVHmZD2kPNJhPfP7e+GH8dw6inCwKJQ17Xo3Tb2x+xXIvtmckgBqw4UCB1J8nv67mfKFAQLnmyXUrRTK7GZzH/WrI6+yyug5ij7js7602uQI/zkfWGivncSPHbPYF5Fo+T9TiHdftaDxEpwVhIK+E3tSPD/kuFwLvcl/iA5xPz6BtoNaBl2EknQcpDlw+VbxU8ofoWSzZXdEHaw9HrIt8t2C+tiLF/X9X8VQ2zl+NJdSi4UK1s1ogf7ZwMufnEvJ/rSQXZ0WPzY5LMTMsS5Y3Sj3dgab4LfEHNscg7CfbCs7a9p9IC9F81QksWla0W+sDZfxFX5EPqdS/3DvkINAHGhJ5hqBLaEukxz8idz+5wDndTk/GUOpmkqzBgZvvIWaaeVYotBNSrSW3d5MEljCXM5I1IriF/8PGZctHRCSVEclvi5nNazYy0jH8/II9vWU+nqi8dxx1mcx4r05ea9XURDOg6E/TqE2fQ+plculIqLMQ6S+CSydYyNzZd8GuByZR8WWDqh8gm70cJ5tbmbJCsohMndqzBtMdLu66H5JDSbBGPUD78C+p8BVcgCvC6iFNf1pVnyUj5L+l1maa5lIrf1/ZH4TY+KhRM4bTIfc5/BPqtxdh84f2MTrh/3wG8PmPNjkaL+frtS3IzzETJXpC3pKTQA3e0GkD6Ms57noc+LoXWNlTwRBjvnJXZXFu02DZ0uhw12CUEGI5AbEUWah/0zAVcQQuyKVRtNlyh2Btni1auSAyXeCdiwk4yBebp4I8QEt4/GOlSFSReu6Sxyi6QcsEH6a81rZxL+gI8Gw2uZz1F6Q+PCCtiA7CAX1VT4zU/dc/i/0TKWVdG4lvafH/sOug4PmDhHKCAKop7Za25HdcD50zSyMbrYggTWPCtFLPCjrRN4lgp0goiKhEu1agZfrlumlnT9/L44PSwddwUnxjBgAnQLeM471vUug7NedAALZoho68GU006vGrk1E2aHUES3yQsrMLiT8pKmHn/eOJIUi3kyP1n8OLlsnsufRuEVrFeTa/GQeNgClADagsEaOF/QoY8byJR+R5tEnJ3Q6I6F+hwrM5jgz7IqLZABRTXjvByaqPo5jpGhbO1KxGxE4yCbJkFOumYGC18g+X2IRIRUnGYyKn+BoLWCfSQSaArn9xvyTjCwrLWg/w9h7E33RBpa+mIVlqCgB/ybbo12uC/19bWFkZSqMQsHD6KRXsQjdRe1lSfql6Tv9lSjbu0O3MZAf5IurfTQM2eE0PKRvM1rHV3rqucBnHU3cDubLWQjtfRGV7s9RQP17QM7SptKP0EVJn53UCa79BZLau/ymj/c+pjGwukovTULiuzc1NEtlrYgtTyrEYowFct64yMG1r+foY8Ixkz7hRiC8RaiNgIlxFsAebgMfW+5f5GHDb4a3UHSoX5bWOltPk5JoyqId2Xe6I+atsbEzwTfPYC3OKl69zVBJLk4/sS28CI6AoBV2y/MGbfHCb3CuYeO/vYQQ8Hw1wJrpKfIscPwhME/iEWeWo8bJ/iCwJoFWP7208gel7+PtcbsTNlXMTnREViADj+hsYBA6RLLaEMLP0anzQyi6jiaIx52xUMBj2IuBvlyCgGZYPZE8529qqK08QvHNKFDjOd38p/h0ZrXH8djZf9jdwuu3q3MUijPKaeocFj2EUn/Ulqnr9xu8OGP9XYpBz1zeJDbY6fGbcoNqTEyR7FTLI7+QioPksUJUAL3ZFz/qdjY8uP2TZVGaNFvUn+ll5rN2uxSmloSugmqVzOpbQX4XPSQoufQvq6tfGTVKfw4Boy2o8q6ySXZ+u1L1n8mLU9jImJgsXwiTWicMoaCWUAOlLtz5pYSHjbExYoCHcAEfExYB7PmT3ySvT7UF4uVdMGt1u7LMQ8GbXo+q9jLbtBAIBRgq8laREobTpuzZRVTW4hS6og4UHwkVC0BShlxmMacnsYoGDet1j7o5HYZal6K26/ckVskXX9LNyXVgOKJr/kUJbHFC6oBDM+P4+BrWkrMySEyzar0arwKtQV5fPPmJkIzw/Q1v8LGiWkAunDl1IktqhEGQRA8lPUFxOEgh+UHWDioE8wWMKSi7LNEv10l8FoTfMePAEYEuBeB95TsiKe2T3WR8dRGM3H6guV5DrPKMvG9IEzp0qhmWifFHdPaGFkL5tsETomNyoxJIJyzZFysqnZBf7SBI/3fPad4omyBrtnY0I4f438VPv69iX+6MD8BGiV1CntJn0KoMLvNULtLIWl/QbUjW8KYmPGBIHzJ0b8xH6wYy+/4aqZyD5c+rtrYsjNv2Drbq26HzNPi/z1s4KGMciUbS203d7JeaV3fsEWKj/WToKcpWL6rCGiSGp2+IqVcRoZ4OjGpAKJxH8GpBxZ2JmXXrTMJ9YgAN3NVEcsAsJV5RBMpjMm4r/c1oG/zIe1Ef00fty/P0kyL1tReuS1yiVLnFqNpnKkPLHheqHRI7C+iC2PReuDsop709yhDtcoVUYjFTtuXxcmAd98Ez+Ecn4c2/b5sOBNJta8j+YYIkIo5Fdkqs4YpLnGig6tPqsCGuM8/xIXuO72xJrxioPwr5cWQ/DBimRMFlbMRi94xhEZ7EqJRdhY5Yygd9mH4Z4cn741flevcuUH3afDZDnxkqqcKlkZes4NQDPyPFVVkYaxCPZirFbpNwJbgFvjK0knPvTIZqdB872Bo5qAJRlcAR+IFcwdh+7sa9YqFc+xvCopsA4IBqhQovvMU8tN2qj91cK0x/0+rs9Kdi9BhqS0AiyfP/CikBhMamdIfCXywSf+pmm7DWEzxcDd8ocBFi9UAurWsQiwQ5scKWkbSs9Td3ZqIuGz13XKRBmpqMOiMMKO4jHSzRAp+HYONa9kWjDoo5J+JDeNYHXwhQ7s9MMhJ6q2fQ4C0hZT7CJyhRbr25Z2Z0VJtv8yFVKFnt1Ddel3R54rqJI/ZX7n6rQ1GSWFwJNw2RJDYUQ6as852eXQbIG5kF4+qcRPjR2/K0wYbcrsXwK8LDvr8cgNlsJdb7urUf9c3cW8nnnbcz3nCQFBwUJs6kEwp6A+cecxbh50gF4K0w622plHXkz8p5U2+t9Qd0bFDPP2REcMqYjy9dbTVM+Kl+XHqZ0AcTxzYb8is+PSOkiO6WRZBoUtjVEoZeMTGDmPoCKT0Ik+xMaQv8EnR9gEoaDlNK1seknp4GQE4q8idzF2vQ0cF5b4EzwQYnS/ikA9xEMSlcaJzD36N2a2LDrH994wPF9yeuIcAuV24XVztKt+TVRdyTDvZdHX1ZjuMsFysyrOZyKR5Zv2wT2iH/wVtmpl5IciEDttnWSlQ//TaOylyB5voCbgnSKpHUCyf9e5Wm+GlFMTnOfl9w4z4a2K3fZsENHKsKrE0t4hXD1aZhgH97oQPXOPFO2JNZUPZkEsngoX0WmfjrOCtSYVsRK2yMnYOH2AnH0L4SOl7FjQpx4dGn/AXL3gr8fwxyDGR8M9X0XTgILKJ94zBdfHYQrEzJt2Hz4+/oiWXz2PnsEUJvBiy8TIwn9rZSgEOfc8/qfkSjHhj3gaeUDwYbCOleiDKhZGS5KXVYErkE9OZ5HXpTjaSEw6cc76sC3aFWEy+nGSk9+LLIOjz8xH80PC9bs6vp/hjgMDahroxMjYi3IaxmbbJ5ttfgiK7vTZsOszC0pbhg4tZvfUibkcl3mpbuCZLyXteONbzUaZQcFvm+GwpjFS3evkaWCZmYIRTVYhtVemOLb78+5vgxEXAx6L9xUzzCef8cZYJomlKptOVN6bUKhW7JXBR6ACbM1/w4r+wIkvsk9Pae4YYrXdgTdzBteJwNBESyj9JaiDC+qtCHG7NfqZ/8GnlmQg9N0upS9H6ZHKLuZ3kxIYKpHSFoLgfl2loL8nY64yGDc17CDp1mDwIauGtPzXbl74PLWtIj5P6pPpJifKcWxIVcbSzBfkPW8zUCOpnaPzn0i4labjTSWZkB/gJb1UFMfi29O/XI2SOcsi6NThvdlyIZCI3kGXbtUV41lXF5IzdHn8DkyrTYUNjQcyzDMNUJ4hrky8NYKuhsaAXoNCw/F3r4GqUCsX3CeXHVJMP++uFxEy5XGnOwwonQCVEzKf+uOTkYGYEUkd8ZRMAaT3JfRyzQEZdN3JujcNONgjNh/PcMqHusQ7KFVMKm736jmkrxAl1Jm1Bp3/Y4yrVl0QJUYy9nq5MJcnM0Vl2EQX3TE2NWkhMf8CHEzMc63CoJL+lK5k5pDAy72q79ZBCAYc1pz1qq1x4vUibQQG8o9/kMDR6asCdp/zURjMkD8fAG+JO5cr7jgK99fXgTf/L7bgXH5AHMZdoaJM6SsSeN5rEJpzGf7879m3Bn6Nd83+8uO0gyEIQ2Wwu94RBgXcKI8mx/WVkU5f1UUJtUl7Gdn2AQ6ZMMs6yt9+Zc0ViUzFmc0icDMfYAMDaYUGlQPBRimCitbyT4+f+Lvn2TKEL8RqPWr+JIW8zL4prU7wQjGQLdgaSjmYvPqOU4ZntA9I+ubymFFDugm6k5hFE4y4unDd7QK/zfotPO6+UcmQ05299V2Z+z10qniId6Cg/zKGyRUHVwfVKCEUDKwskikzGW7OB+5yBh7RoDRe8UgUWmToQonGepDBn0z1q/UVolEnrTYMo9eEcMldYUr20Z38u4xjYhaUqZ/KF0A1+NUrz/FgO23tg1gutc0fjQ+7J+xapdQWD2YDOc3oePmB3Q/guOMytL3axTHFdcs2BVygbbjSb6sqi9CfhIj38AJwX7HH7hJo9pAYHRSgAvR5yOpzpNXZwrS2dZKdxKACHQWgk79iufgRfJhtVKZ9ilTMHIly9kaMGBJm9HrVYyCSh81KV6Gou9U0d4uf66XLIHlRc8WvTgocPIKCC46n7nd9YM2wqxQZe2/boIUUXuywb1nEew0ixi6O9iwS7yn3IFUol+OR2AX9MNR7mUNfP+r/FjF3wZ+31uJP4VIsi/JQtyGh9t5JN2rbp5/NQyfbHYh8Sz4+c3Vrgs9lm6AuuZXk2WlTDhuZQvQQF9h1CtvKtqxdIx0cxbxFARZPzghPlVspyTxvZV81vTZlP4t10XP1mdlFxjMTY2kcWgC01O2Bx4TTmhGm9PANMwKab89K/YzaeAdgqvIfiPeHgrBk0qIrjw4i+8HFN9IDjBKm5GrUA3FjVP0OyHmYlTkL3QL4DQ+YDCxkQgIswOLz22rgoS1u0C7Vu5xgntWo7Di5CJr+n/0v06SS3+0hCuX30odC93uYdHbaUCEQBCAN/Zrzwed+gHzBng/HxEAl2uakwrGAghd8Nsmwb0r8BDq3KozFg2PujS8hKRmcYxyWrdfxRcDtkbEOLMrKiBtzzRab8tjqNZGYvfCWZ09nzbZUnwQv46dmttmKcaLNJKjs+WBW6E0LZfg2cfjlFvwpua9fkI0qc9q6UtETkk6hmzFqg1nXod3LAtSE2FmXQI+OXw2MoebHr+LdT0S3Lo44SpU9EtvmdJrg2AFJ36IDnb9b6OjQ3TIMiKwBb4GHVCcOl3layIDxAJLV8nqOUt7x9xyDDRaqpcdC5iKjZNUnQ528P66/7QyMrlTDlKkdnhz5KgHrSAnqgqjl59HBxbIpMfFne+287BXHzV0rean0uHzwr/bOxdFwAYnhuK2zC5eapXfIKqHiw3lORpSLCX5/+fQIlw55DKtEgxe5cPB5MDDDbcIiR2FtJk8pQcNh3/Lkjk0i3XHFyebk/cr6Q0klq18ke49nXicViHqFIb5zV+uf97Jgqmn+8Ho84XRpAWt82F/435G7M+tl6w8pV1A6d93Tg6G7QR4237j+mSbFYTX6dIoMHQw8mhJWwrywJ0u4WVBxMNgKAZ6zzWy1Uqts8DVt0Qc+yLzSQaFkNA4p6EoADeAEzs79Usx78AIVxuve0FHo5xxgRB91451oiHXmQmCBDyDVuhJJ1qPW7GEyFf44yS2Y33XpXDxD4PpN0dbXZSI+r/REgSHdwsX0jInk8qldIDr4SbyR9eNaG+nTUwevYRR9nJbMI8PJdyuGJkf8WALFjhGeVEjt7kT5+4Sz8aZoB48nAwSoD3lJeKvp8d5FCIWZh5tcQct5B0xQH5QUcIUM8g5JruNzA7qwoZ3KaeqbaS8pg8oWY1DhoVokZ3rPmYmFn9hTo4ZqA7fvt8HVeXL5nM9YSsEM73fl4kUC/zqggC6wTPkYBrxoIrsr+JApUOdzNtsPdeuzDgwxZU3lIGmH0lmnXAfzaDRD4pZ7PB1+Zv5Nckm+FzsXKsyiPlo+cvz3B/JdJB61nU+1nal7hZO0UDPt6SjzkgWwkmELHoH4l11vCirYRSK4V+RpZgqzwY35UH4YwbD1DYp4IirS823HjDVkiGsmMgw60HuxVb+SI3ecfxLhW1+6h2pzL+xOQzmEjfvm3Zclaz9ufuXfTlcerqMHlvjdxcXf56tR0W9HezE6dRV6WNp3MshHG6qbGGzsh5PtH9w1/3md/jEq0I4xqB5qgDhB9jqdq5HAmdL6RLZeyZ3qMWNx8UOYkwJWsgaRtoPZwOzcMYZbziTbquY0DvK7ewVqjRpPb1apB3FKwYUV5mbpo3RVp9YNtp9nA96ndkFgbR88P6+uGFj6i4niPpp+RcWD+v6WCd4Iax4aZB+WilTSpfzzjIG50bM4H4Ct58LoCgq30k6/sEzFPVNDivPp7uaUgvmM/zljsDRawJs7YBc3kEPTJa5Chdqw6xb0TDjH2O3E84wDj5NAifAsrwovVmrU4hhYFd+EF+dnxvkQvhwBUul0nsDAjtpXa9Z7nHIqCrkn4/Ug1Lj+9LPC4bVkg3XQUMhqhXBuxbVWdyHNtrSTj5vGveVcGlCaHkTxfZJaLULpG7YAtkU3uOkDu35PSZW4WLZOJyykPTsKB7ebC7GVVZPjbtYfLwMaZJEfxlpIlp7rDIp3e/8WAzmN20z9NrsTOUR8X6C/Ia7GhWWXuBQtyU95rV3nrCYU2r5lRTdl1Yl9RK9+lYuMufPdSsYQFf9UiwZi8E8AFNO+2RFJZ4BSgU5fYjslWXwU1hCCrbfAQTu/hUoWbDbMRivYXlwrtpTMBmZewr6PXcQTI/Un6IxPOi29ghNZYi30gkakzUZi1tjwIAnAcmYpX5Fn9wdQtewTPnB8mbnCGs7KKqOlqKqU7tapYI41SPo9jG6/1SO37Osj/gRXpiHhMBHZHe5nKDjnlFFkVWo4WK3yun5Rqv01J5lfI16uywVqLI5mL7gEZsEpOpPJz8JbAgcMhfrQ+wHgnLLKttmj7/WQbFkIQPwggziDGFURTAbSTJiXElsPlSprsO3TMwCapDZ+XFyOLfLooOZgd3aB/p83FMe2D0btZP6YjAE7lkN74Yx9ntARk5hpfl6wEbGdQv+bedzqFuyF6LxjIsVTasr1f/WiKFL48BB3VPMnGFQTP4QPjKQ44Ima1bUs1MUUXhX+tDUSY7kPfDESb34Gin+H6usmeyX6wikXCpkICrgIVkbAa4D41lsEPChg/1IH57ooCjZYBphC4ziZewJgtWA4uBOe7kbW0OLGsmdab+Kphg3Bl1jgrpIYg/srRYyr5qtOyK29SfuMef/qkINtoH0qeKuQ2jL4gf2ELbv4570jpSd78GYYPYViMVpbdKIogpLIEW57NfLhaTZjb/YUmlCyuqF9W4682XIUdTX/nfkXqyGQW6CyObbMJvhUZVj1crToXmKLDs3Vc4AdAAScSeVQj46ogwJBhQd0UExh6cEEJi1gelXhhejFeVVjnWHhnimC9NmHL2JAzXy3WkkGhdGs6OXwW2U06y8TTmAIxwVb5S+EExgl3rv6nTgAgmqD0hwdukUy8jen/YQORhY4iOX9L17e+ZO5HT5jFGk+UBQekITcM+nS6H/wRUkY3DC8BSuQSr0l3riS3D8TIgZP0deylMYfzo9IKTiF9e9gswFhr7WK/957ypI99noAdqSio4lvSfRG2V/sK15OtsYo/6xqbuTYcheEG0BFwpV57dG73Jr0w7A8Q7JUwmfNc//E+Z/Lt2b/LbGBwT/E3KGYPaWVqWe1m3lACqriGL+PROYeU2jk8OlffiGjFwpuWpM3Kbf5zQvMtGYSwybHa8fCxb4c0dvnOByRZjKjrxNjxSrQZxtRx5RaXG6kaAa7YWnp+c25eWoT4L5BOe1GMRpxUMaujV+bi95IkQhwbmsB9q+XftEeJ9jDU/2TLVsT4fLSwjzdmRwqVCA3ShjKBg5MGkgtCRed2K32CV1zgN4BQ59Bi671cdYz9vkflcv+Z/5jfbgjCEGJgKeJQrdD4OPqZTOsVCHAu0IB4adKaohvFXgYUZN+DbZRpQ4wUQtGkF8mXUJSJHGInjgRIG27SUkVqmDMAIiE4ySjJikN5uZzxX8BgmfGL1sXLt9FTk7R8EF1+tMktZf0MKqgqJbBMq38KgFzRAjnSmKprWeOp9Ajj7tvj6IqZUzeoUH/rsz3QZK+tqELzUPRfgTDM6dK0OJtpvJLOl/tIrUGtz04cVKv0bnp9oe12QNLcIYu3m1smQLJRRn18Plr1wfXm821dQa45Ze/UYsbYGQOmYJggODbC1k2dIYopSIF4XpmaEbsa7bxZ9oWRWKrWfjx14NFAJpZ/F1iOkxdX1FaG63Pa5O+vPV8nenvTzxVpr5MGyFQJd1afZlgvTjylknLkKdS28dwaUv1jGH4Gy1ylz6T0WrL4eotf1KgO6qq93UofJbsX/u/3bvRbmLDUyDh56Q69XU1AEd3ARSXlSQvkKveGmuULjJFQRdkNfTm4WIu3TzmjZqlNeOvqhEkCQ78XOXWVDiVf7BVN/CH+RlXfQ5N/fuiU0yuUIHIjsoifdvQnd+whbyfeBxtGjRsQvj+DJCioVh5rZyQ3vv6TDcdIoMTTO7MG5V4lEXbl/Sbw8l4wQW/Gl1c2H9bAZDZiIkuCw3QZTO+pC1a8xKJwlnoZSmvuCNkGmc2eL8dPRB6COn9akwEavGx1E9sM+KzY1uz74nKlVVdnLdyPeYqA7jYmf8q9SJP8gYhdw1rDE9Y4yR6FF+cxnfoAPlaHqoJoD8iViGp4UraeJa008/yoChFSyOcpfSW/ndJApLfbMbUf2SikXs06SL2XidE5DZqsf41aM0KlGjd4BbUg726qnusL16WQIBscIC7xE22/opAJ5CKzkHvRoKylXv4m8yhfmAw2tATxxhpZKnwgcKbphqhbJEdmXicb7/QI+KYfO/smDoosF2C/AhQB9hX3gItazLI5wQ6wkc41Uq9Eaf2uv33mVZ4PSfbtGa7YErNCGRP4mfUtk9hsQ2zGNoNz+UUNzxdzzfermmN1VlVj8jQ4fDX9EZThdDzIwW4TNmYEwATArT5NzUKM03Z4h7dsw6ZKfV5TWnM4h33EOdzU9wcCEV9wqRuwLN5Mh5mhnUO3bF6ex7kpbOEb6w682y4ndEuyzp/br5A3fLspNwcqO3iRi83UFXCCZcfY4wsIUYT48cX5T5IJrg2+MkentD0NECgkOtSjraTEjMOmTegahgId1rO99XNnk3MxsoOPg5/ogu+FFEjlHjsGt9UFCqaDoaz0+U4AIJ9nWvZPW3Nkfg9he/KTwsK8gSaudqybisDTcNS6vm0Xn0JoJcN7vCWH4W6p3AKZDEH6oHTS+sLQJXTv+zUb/GieVXQFF1o1MyXWdVuer6Typ+M+sqIhkBUTNLjUiJM5rtfl5DmxU1m7gxQEiDwO/COA8EXeCn02ROsKBKwUtvDD3NRN8p9rfeNU14OPV81P3xMCknMP7FZUcfUi7vCM1b0escRoHltkwnUyZkwwMXBjJ9V/sIYn77rqNXmlcGDWJOsUwPEhHMQjiLiGyD/tOevt5N6P/b9Sz3CrYwQH4Y1q21CdfyXqPqSO46Nh/cAUpTU8eW/Stbzv4Ayoozaor4h0ITK8E4TEflT/ZMXi5VSdIQAbVxfHHOaXPEJj1Zur0CMl5CVq4wlUakpYQXMXtgC1CMilVukfGHq+Iu5ZrvNTyM8g8oyMrZHbV/4j6CC9TMtK5Bk1AINDoP6G8MqGB593NG3gmesrPO7kEvch/EowoDB9vg0V3d9DcDwXbW7hze5pUjz8CUdRqXFGa8mEBnU6K1BqQVdN6/GwHDLJAEceHXZPW17aq8RsVvKI+4jLOjyTlpeigeSkmGQUVjitLwYXElHgHg6PDYt86hYrv8IJVeumplBxUv+GYHVxmGDvYRP8EIAEYWTY9iTnFWK2hFTJqCYJH1vD3jj4tdU0f0AA8AJBEHdO+871gdb4Xd7F6b3my2JOSM7IBbLweNzVV7Skm+bhmVQUaskyN5gqxsS/orBsAa2IUfpYewPLD4S7N24avEy2wbt35BEWszfTRZvhyAjFDMYACyCx1886SBII9jpOM4RLUgqz5Fh8gXPixrwme1lv6OlCiMozSngio/fg7hDugtGhujzUhQlbDjJmfmnS3dpr62sqR2yxNbomipaaAtqv7ffxpKbKHaVpvZFv+x0J1MyE61VBxLaLk+wgfopEyrEhk3+TwsRvFE3mXPVRUxFW4f2fC3KorL4quLPqkYw1GEwnFeTz8yQ8daaMCec+9bA8hCRZX2M2oU+K+TAMzT5CSwDQ+kfa1gI9lGVzQD/teNnYySaASbkvI8yEY+++l0HAM+r0SaBkHkrXWDd7xo91vVIZaJu7qdD7BJkU8ToiS74yQ6uA+tj07/0K8vSLEhT8TUugiy/cW3v9ZA7rjyTYhy347M2keGGHb8vO5c3OhBDU/dQINjt7FREjnAnzUznCYt4z5Y91ny77xj1wBeDLE4NiaG9aFyNc8OmF1MGgwFcbJ6zdHairbEQEnqYWJv2qcCe+a81yNLUh6g/4yoR/TyeVHzZjGkga7urZl7IVKie2Nvn4zgkLbFBv5ewOUDguWDKkOZmT4wg1rxTTpMX/uRcOvmDVlrDUqYuBFu2K+823pmb4y0lBMtsFhZcKdF4Fl6g4PVGD6ChN5Hnz6R3GRTA7InbbifXDp5pe8U2xIp0XjvRZ47KuyFgoDXSGC23HjUQJscATZylFkI3JPZ/kd6R0QhcynVAgHZRGaE3HGu8e2fV6zOSZBC+96F6/HvROnBuKhQq0s+4NBgu7HoX1+a8IOc/T8IPB+0qY/uobEF6Ifk5vomaxEIMMtYeSO3PdAgGs+Ee0XCq9SEtKCYYga9fXdH0LSmruMNOvxnY0tS95Q3YEtZdhI6f9+wxGCcoHp4rUyZF206M45j4IKSijnnxK3V2L1V1GxjrRM/pRRpZ3kq8F4ODycL8xDTy76x7rkgtTcBL752MICvT9PYDLMmi6nynfPb6DXzZwnNAuZ7+swOS5MxDw6fc8HrTOYj0G3zkOhsHMwkFriIo6mkbhGYEebR8ahIU6rGfSa54GXhKX8F/4ToKl/BQG41+uBfxhP05sV1ew+2NhKzxv4tRcIOkGaiCao59RvgyQrsTsV9F9LEGZghd9y3mefx8UaXkjsqUGN7A9CoBL6/u6rjum8G05V4/4WRfxUj9S4G7oFEMUG/jn5IGEa5yGn/JXjXNIzmTUnSz6TAxGlPMdyJ+RyM/mvfx98c+XXyW6strOO/Eo5zLRsvpNef8Uq+wmKa7LSnw3SwR2diVPdgmkPt3P+8WpMu6RJFJDAHVaWFB8Hb26OHZ4+b4wHVibW+PnLQJOgmOwAry3SdLG0FWdpDI2SQ1PQVMAEbPJYUd+GII7eYQHYFclDqgXDFZfgvwpkVlUiGR7j1vFnsJT1dUY1Y4nxIfoExLAtz7gKi6PhCemYKZd8pw0Rv6SM73NlFbZEqnBc2DZjP0Jo0ONYrOhtr/+DN28R+4pXKnr6F4iIXFwhYix1uQj3Efs22YNU/WvVLZXXeeazf+mSgsvrdWQrc/MCvBq8f0KwTVQXnG717kSosVGa0ucFXUS8KyOXdbhWYLRbP6rt6u6xWpp5JijpNAMmgnQWVvVjcedf5wfnjlQzfAwhTqJsUM2IITlpnzMuHoGcCAUW4BVPl6uDAz0VFXyCY0L3k8JuAMFSHZtoge1s3CKSNOoU6OFt4SZuL0T2YKq/UtLa5v7DPsxrSVfycVFcFyGaHMUuHv/Djvq5FKi0HIZWZC0L8ltb6w8Bu1ozB7+vO+gYPiIk3KS9B5mheNI2dRPN/gVEyZDOIMV+Iq0e8tg3o1Xx3dSjWpxaKYx7vw1PRs7TF/OMb0RNQAd23cfi6GSj6YwCdNTnxcvXi5gscSVritmo6mXXoECyvAkmyDyDdbOWdJ6h/8+k+YeLzy+//IKhbZoPwInHMVNFkrCYVoNVMoCovRddaAvhO/UMi5dQDK9ypmvAfgWLOANlqbj1XbxvbBvJc/JMKVM59859SqJ1sZ7ecqoO4uzL+fWn2loRIgmX+C6d0E7DWBONSmTY0bEVQnKgmoOSdIghyCe72raSqntWOEO81UZjAmwI2tdgAV36TSmvDxVayraj0iNeKEHaG6FCD2Q0VZNWDjdvcU/HJOWzbvAtzFj2zQBMBdJd8PAc6gZ4j8nP+kaofXdtDEFOHYXSPC+cG11j/E7giZFhJmbkKGfIjhnji6bi8yQThvRdR0vTXuVPuM6EHSwi79I9uV10rI1SXmcpjf6ZjxvKdY+1JYgOThqCuUidNZVSf7TkH6/XELqA3vQRl1ydC2Kbw57qi5zdFnORFyKxBI4jlA0kOQjn0r8e+NSWYWOO8vED8EkFQrYtFrB5OBXRP+qKdFIjQXrvYN5YkaC9mLDjEltx9lUFmwlshT40/R+aYEyrN2dq/11Q3A8cvnBcR4awba7XO8ZlcQH79D0qRk5zthzW2fE13aSkpgkVNwSt0hji6Rp9BlIgxBtDE9MGGea/GBXe2Vtix/bfw5yDlX9VOikFXk9bBGt9r4dD6+5xtS3riIt5MUWTDVOFXQQIGYo/ebwuQlSS5YZ7HLdZ9OT0Hj75aq7ireI7HQxayd2koVTBnrk21Ej9B0n4wC7R+FBa3eHnWRgYXJ7mRIbX1AYlzsYXnANSmIka06ybkCb98TtmcqbxnlU1Ifsv59BRDFHqLo734Vu9hC9tF5YeIPXTIjgZux3mg4vtxiM1nYp4oAVudRFtCteY/kcpPT2Qyd+ALQqi6iFdTRc+AQOt6j64OaN7xmZrWp0oEb8PnUHQqW+oNESQjXKJyZV5sPpBnSHSDwSBXPvFkqT43O0WB/QQb+e7cQF8C4aCvcjoqDlMs/OpYDKoiQ2Pf+2a5CXbZdatUrIkAHMONEGcYMKipbXwVKT3HEmp+QsZLVHXQgMoBQ0IvlrR1QH200GM4DELaqUIrybjJEnrFhjhlU+84q+K3YaH2GjE59/S0W69yeZXr6niDZUaTcqYjemlQZVhfcwX+gTIClq1PODiPlZYCJGRy6nXmT8HRFT+hImFnRujc3ZBsG5g3HvauqVnq2FzecZgurTh2I/JLvaVUJa1qTDf5n7Q8jOopn3o53W023nzfxDzdujkOqJg92J2oHo9gTZ/Vtvf6ZhGfXEbZKLWp5lrFicW1MQNNdF4Nd3fYJUYpK8hqDwckEaZ8pKfHXqN13IoC9O07ascuFuQBHb103gLPUGA1mTEWfW3SuZy7d+yXASf+PSe2xdvCvO6mCbEBCX74vFllBU2qAPQDyCeULO/iK1TMNWOYBUPeteihZiY8vhG8Qwk2junNejguL6x0miHwvQjMqH37S/F4yP25A8JSgu7mA0JEgg25ka/g2WfiX4k7KY5Barx5Vo/KCxYV96+ApazM8aPzZvjytrAzslk61dSD4raZRx1EY+HqQQrGlixUVNvGTG2neE9uGupom1ViXedeMtINtlHgYIO5NUry9SUk4kU08rEATq6cWSfinBudgpIW+yzwPikaisYomMDGYBFxeT15XMPTergLThKD/HFGSTx71CEBunId+vOSpEjmJ4u+/qZQJLZ0OuH8xGSTMN6yOdIBrWhAlkfjI08kHpuvzWzYGPmBP3MrPpfdHqziorGzDJ/T0GEp1VF0sR8/11UOfsYOccmzz6gpz458dVDdTWv6r4KuQF0EJ4mQ25xkKoLHbupKMJrH1kURAPh8IJ22+EYXjasa9TNTMAtI2qoLDRuXb/FP+GQwgFdY4EUoV6CMXeZ9HnQHRYgJ/aMBNosKSiM2BBQXO70LfOUJqYYDYQdYi4uh1nFOKhUEpFm/HOC3rLMse++bEBiEzkUjO44Af3v2GrnLZ0rrxrVMDPuuagjrSF+iNkwEyHUi1Q3lxxGLjzAuZw7sIm/glm6MHB+WfkEh4R1AmudVJamo1wjf/wJxvvraITKedt0yhrmYzeYNTbIW6xFL/Pdh1K/UNiDOHz21MwC7RA3uFv2U8XQMOIaGPy1/d6L5u7EVYUIDTd5eJ/rks9laq3MbBdOLkI2STlMcKfK8c4CVsGTbqmwJteGB6AQ6pUnhOZzPE5KIXSjtmbhMqtgHVtN7YHAlYv/MnWUeXXrMH3HdL8auYgPUAXM4QyutNaPC3XvzCu+RrlQhQjWWfZnXI/r7S3wepZ0ZLYuFLJw7FyzDQg3FLrNme/8Va0xxjqMJ1eR+TXH3DO4ooA6QmmJj+HpEOpZLSx+ObOPhkmW4afVv44yL6EqXcKCnLfWvNJhxXaTXOqA2KJhttfwZYTr8HuqVGqE+EfOnqrmBSvRtzkhgv3XP8H1XnJM+h197fXyHUSqK/lNHaH8TQqz9/dJIZ2G1hTHx4DzcbDtG8fTiccQOw7EjgPi8LZlXiNByZ62DKSsDGHtQurFmVKbG7TfxXJLNK6JtzdHpUeTqK0yrPC0YIkIftpyEMCOp5Si1GajsIAOiO6xSfRC2mEpCf6xGbs2V9Ai7TY21n9BtThiydJz9Jm7uNvl+L2J6wvkmms+iNuD0Y43fuaJe/psnFATRD/kr0nVm1+ICbxVg3LRuHQhkK3rBwPMW6AaqyV0w9FRFR7O6hlfjzz3XSdZ5lwS3yZiT/QsZ3A2Ji+X2BZF9K1bjM47bqFS8wT79SzubNT3Ub+UyUFQqOmG69tGGh3/EcChWHUuuDNP90F4CwnTwcy2zveCWNYThASWSOGt5MLiGbZ2fykHvgT8XCEPVrcJbDRYPGVOH9oSAd3QMwXy9G5N4IQBHOAsWcmuol0cUGn2ZIP7OFKV7S75PY1xuZrzKmwmdl1CbdYPX026P9kW9NYmoc6D5oOQFVW9MsWRG+cKZVcKJeBXLWTQsqyoY11dMIBi97pFcOczfIymV9iRqgBhf2KuxjpJfQ6sqGHE5IIKqqwofBDBPfK77hsIe/VgiQ89KYYiHUZOOUq9/xWetMSZOmP9FSp9SJ1PfN5JFIBPAnP2vQYk8g0zNQZTvAtLdQ2M9oMoK19DvqCDj6YIkgq+c9yE6w1c757hO/1n7y9PUOqcU69dS2VxpaeO15j1Xo8LnYHqoKg1rji3pDpiCey138AKOCJH3/JZEp5Uxl8Swjy4sOwIXPMaqpxTm6ox5ZVetd8vX5bZg2chnvaW7kaEgc+gQvSLRDeUa55J99wsVHNJGIk6mpxkcMRXBtYlpiZnCe7K38SCL3TB/jF6t7dJLH5malGue3GIq8b1WaPEPOx2KT/+a45wUcfKppP10flxukfIvEBW3D7RZrQuNMYUSaQNoDS6znasSCWwG9mOTSWXasy+WyhEum6pI0zHVWqM7SnwpFO1CHsxJ9YYRRf0yC9Qn+iUlJ6pLK9qg2VS+0zAOQlqaqwq3ZwzyACgGMhTmcn1Qj+IYNkNq/+tHiwn0eZ/IanaQm9Yvu80HiArGRe1oyickvWlkW96yBeBx2bQjT3Zl7SL2biIxk/jJtmcWxkhFl7m2hI/YaDEx+giQHa4+TrnCtdbqoJjAXe2szo1OniraGXTn1k/2kZKIbOZEopAIuV0/RzxV1ufVN7vpDAg06WEkPEfhlYFSu2Lgzjy3gnRoApRgCFthxjphIm6wAzkydh55WnvR4aYsPbtk+sSjpX3CqAdpOtF7U9SWg0l8/fR0I3Etw85uDwwei5wVezRgY853Ew2weAibgDr3cKzxwjnSfxJoK9lN0oqY+S94jnXy3j5/gVGE0E6tmMikjWnLP08VoB8qjZLwIOXzPCqgIqnORrX2Q/KAw/gPgS3e0BqaHBEWKkSAFKdgLjL+pom+zt/Gp8Tzx44AyHYtzP8ZfC3fPwVQkiH9MCMGDoDp32p346y/HvLYC1ocfbZW9Qg29SRxX1941zfuaUuFbzfDysIT2V4fe7pfHhaN1gXCE5HoHfkcu6XwndTd6R6iDQhPhSGxLyvnqBjc8VfFrx14GGc+xkW/aegWJtg9xq98+LtwZmC3+wFMYQJ6qs1TtvMrHPfjjJQrIqT5mjgGavcrQIQFLtHZBIop7ePL8V32xQ72u6PXYzVwG6SNfUTHNapnt2VIKq4R3+4jjbVyl7kWFRbRfAMZbFe5XoFGEAOpDaJ0/0ezEa4YTYgOvhiYdb9EA/0SVA+r39RPhvxJXWdHbdszL292tVgCzs+lxatZaIX+pCGRqZKA1tcMLGwVG980MYe/01isJAioswNLa6rqt2WGGRqsMGmckwlW/UNGKQIHzhQXtjbczzbBxvR3zgLP12bWhMaflJIfmZS1I05i56ax4ahvI7xCX1F2fi5SNxRYLxUK7HRn2bfO2ixjbknTY3bJKWhk4issqZbYuy3goG8cdNOvi68ZTK7w+hm4WqIkUF4daxVVZtf2SP1zMyvZbyIQJzHxGlkvfNhJ/q9dn6fH27fsjcS6Rk0OYC9PAZwx4E3ZWAezObybojE1mF4hwdaDJ7fbnhSvCUB75aBZXkXVDWNkhx/NEpIZdvM2xFpSQXygHBGX1RPRPb+Xv2Q++taGe/Q8O6BywtZU0BY13jdwMDEn6rgxVGQAYaA3z04XAofkqyHcY1XWAERnV388Rj2tVjnRxoVPEy4jXjCOwx/E+zjivL1kyH6wG/qotcPQsqUKamDzxRvQ5OWFqCJWuODRbMcihbnqbbXTHVLxiPIyjuF0e/SbCy0VDDrnYCZ5lhReqRzlpsZ02ld85Gwp7JbxItS+DKcVfnrCue237Pk2VvFVE8A5CFeVzqh/8Pm3i4Bap6apUTsGQ3Ry+FaoDgsspelbXZ7c/QPcdCLVwOFSurhTF3QRWpoFMn59iL0Rq8VIpkTQA4Y8FB2nHMPmkiljHmXZC7lZdLKWA/ti6Dl1Qrb7/QujWk7IkV/UZLlJr44xqEf2hrE1BvJSdYVXYVWvWs0aoa5svR7OEHN3iORJDHOkmrJ18a4bDEj9Ad5iuvadz/gBrFvKUnx6ir3dAn6xaBe6UZpr4ucWChhh+XyXpYRWR/ZPDA91UW4v7fgt80cVALOVCjlSuH5lRXCIzJo8vQK8orJFhE+bcLQxzOiR2BoxiVhgd+NWRbYCFV2Z4MWqioplcfEzRygKRkonrFSLoZVSYYLdRZc255uhlqd4vCFpHVRTJJFPYzBIqogu8XUsj/7GEPpOwL+TDeJKBbIWXAh8lAWcBzfMY1Q3CBYk52D68oMu3qi8und1FlxD7fPCXDFNizK3J5SCJjn7jBuFgy9rDH/qLAbSQgNpUS+XZPTzA5r+3WlS1AF14GDlePAbccgbzdaXewFdElP1hRqwW0kIm4OIrMUTOmhKf3JxlhZ19RNZtuRusxl19cVPjTxfpPcr+wzVvOgT7G84406POXgsVY33rlmHGm/6q4eXIm7KauUoKSUosP2etFm4Oi+LPYRGIEySokBdJofvAQBIpGhjQMeVRcjrJLlVm9zG//lOLfRP9qMnzrwQuK9WSi/3noIkcGsPe43mZ1ckhFjCyxYzxTOkXw8jseP12VhUYB5qwK0I1L0nueFhFG6hUGE+HOEBcp2hyZyuO4hqYGkTX0LMavYOr9qmv4RJ9P/gx8MoPMmlToipKULnR8U2BcLZRx+/3QdcX2vucor3qkV718rWOpZip86J2NCmHzANJWT0A6cId6wtTVzVFVQWldAl6SDMK0vWq4RXtdA50oBKY5HfWQPOfEI4p0AwRPip1+utsbybi2xY7uxjCL4k5nCX3KrlGiMgWsXgPjC+3Ik6hz7NQTjH5eH0eyJPmk8LSkRjO86LZ3KwSjHAqbANAK/rfA/wnG7kUZUwgj5paHrAt9NdK/K3lKFwdUeZQqvkoi3VMDghXMd7LjnchD/tG94vfHhDlRDpQ+5F5yskvESUqF+9nKeMb5PBCFVO3UBrVlAMdo+wvWAfFTzRr5MMpFvt5KOMzUJIRA646AK0aXCeO99H0aZis3f06q/YaR6M66WD1xjdEcf8cJM56pNypxbnr/FTQK3uOzNBdcKR1GLz7yQXZspc2K3r3s+LsZrkvbufRPXeZVac0fXZyqHaoBwh7C4dj7Lyf8PQpAPJKTId3qJM1tzVmuNolw/fZzT8f9122Rfx4h4t0QxNSCw5n1xxagBM0yf5kPoup+3zGub5uMY4vDp0d75oCdQRcOZWz9tOLsxsKNEYOB2PsFx8dc6L1NTq2+Fcz1GYNRrOyKouiOfDD+m8/z4k1InTTf0NZ+02a20SS8rw0GVGH9ZyJgh985TDAXYbw3z0MtIBDA/7FTnAy0Nsi0QvECaWHegTPIYri9Bi8GeAIjmS1a3bQG8R0id2H81HJRleSI+3CvffSlBoS2GRrJwsdyKlMhzMFvErRXkSJfPPyo11F+8gfTLCEPJRRQIlrryIR18hXAwBpOfkQ1pYn3s1SvjDdJ3HZWxerIWPaPNsMGiPkm0utFo/DcjAqXHHJWCM3QVKmAhIgNXxFP4bXFRKo/EhYeXipvluG8Dfxt+/nM92JsFKBSeNLipYOCAl0KPb4bnR8nFYizpRtvmYNIsdyUJIn7iNEGY6aPJMp6Ib+SutO7NY1aFhBWSEvcu1aD5laf+0YwUsvbKybD2PT4G9CBgoHTJAyPmFKNgdme+8HxEGrVkkCtMOCbfPN0FLlkPdvgoM/pvCNK3zuXIbVhot9tr9WgDDQAmVr++CZONNm/c6K5pi3LNt9Ce0Mx+FYTZO2w2tdUnq0DWYWT6qmvzI6tTy+eHcFDohKpqdeocggkZKaYjT7uTVl3iujcIG/4v6amwBZVTPIwArag8emvaCO2FTwMxCh5T+AUY+0nPq9297Tf/Sj0xWsF87FABPWcZztPPJuZspHzTkc+L5OsHVfoPe2O3pi52A9NO8G+H6YTX5W9BAv21bJxszo8nJebJHgRCzptn3u2EdraRCJJRtlnoBlw95yfttxS+Y4gpdJmj48E8HAchg/NB5KCW0qe+udpypgVcziE+b3vDtquKOtlCQ1fK16rcXgU+NYo+T4y3nkNZ4jftACmh4yWA4N68w/eDxshHAn4zZE41jmida2V1YS4FaiiEnsXSuVSJUPjXDTtlz/oSM8kaX9z6li9Tcq2G/bxg5YnxJ+sMXhcbxhhZlW0DtZW9qAG86Gu4HWAi+2c7Aw0ek6rgWmqMMTcf372+EzUL3JBcIMwsvh2+uVspxrqXusueJtl4AiZ3iOfIDO/oVzSe1eqLgoYklhnTlV5buq9HjF+ezvh2f9W4H6H5fk6ZTlcdvGgUhoX9e2WY0vsZEf5ZcE9cUuY9/lvUJZA7lXa2AzsCObI345SbaUu3vD4XwDg8nu3m2Y+PcNGvm0xs146rpJQrNVgu08tIy1as7uYlx7HGwjDw5IySSDN3slMWKXq1GtM4RKyAc+WeloOF5MCVpYaJFKPLPebNxiWx0A5/P4MldYPCkXIZc7/cgeyu9lYRh0KK7Gsf73YaEDoEg++LKd9W1XRAKW1eMfWyvxJJXLP1iQJqjiYuCfC+t3uyV3ZejQcgi+1pfwOPrVLnFo+tnGvcrh2aR759klVNtuQZyxQucB9xovCBzVC1mjZ8TZwEss022FSCflKlgD4o3V3zX51QfVrnTYzYCAkB9bTq4hBk4NBUwJ3gU13g+YTlVkyv7vuV+QqTKmwq1OV1YdiRzx+Kqz+XIJEwGge5TkUdZk1gD5f4ivJNBBUGEfWyyzS/5V5HL/6ovAYloLup28G4suOxGFq+jVPYizJLgwWJPdZc9qeZFSDvLeOslgLTqJFEhcOm3SMEvZRFeh7EstdvWIR55Y7pU9mrlIDFEGPRzPR2fBtmR/a/O3TiXMCmnyKwOxJJA2glup1j/05TlhHoQCOBBgCMMblmlwMwE6cCGza0gPPhG5Mo13R30KQoSTqDM0y3xvmyTpDni6WDMVSLtgfZ6SrzPAQm2Gdpz5FGcSavj42minOFOaiSOFaShBH+ij9xew82IolBveF1JrOXlKvsAizPkXkywE83IqxTuPnqaysjMesdKd2v3azvtkntjZEli+ljXCbcAyPQrKABGASCcHg7OsuAf2P+SEZ+Nis3dwTDggU9cYmZJbL9UzSv/h3AR8+Hrj7apQTIuPmMW7e43poap4PQ5OU8nANi6ZnVW5/nF2dWj7n8fid9BHCgTEWN7QSlNspDRQr+ioKPioq/qu5ei3Uwh5pWJ5ANib7Z0bnGHDGkMPa7Otb9i90f1n6lSAmFhcXodQj/W60dEeihw/Ra9qOT0Z7BrwTSbtysImE0C1yIBPso2go3AfCCH/+qvRDECB1y+he3z98UEU+B5tWJcjUyWdESxBe/V+xTW0/scDbho5tAyryZUY8ugG93Q9FZQZsLQX9ypBqZjr86xQdZgNRdOex88zIk13OydPnkaP8fXyiErvLGQhsBzpzWDZOtc9sKarkOliWwM2FQx+ODHLGMg6d+gaorUpQIFkm33SW3SFmv6qJLBRvnuzJ7k25z9ErM3l4FaaThtygiXwiKjVRPaLgkCDQE8DeNdmJi9XjfMLH108/i6X1bSo2w67q80FkS/yTBBOR1LAMi9KILpiVbbZbie7LbdQ+LhWE5NsELXTZCduP/qhu1tmtj/+Gyn4iRZCOxu/tZ/8TlmjN3icjlceWtIscueZmsS8lnofBEOi1UyYsjkeav740JNCNUcZODhdMJJzYybg0fuyX6dUWib9a0wVdcx1bftzkTdBPRrrOj0b0RuUim7wtsu7xiSBK6KFvfFyTFQrhxi0YPk8r3VBicWoAJmzqQcuJ66KR3gqVygNcbeNPQ+jyKMYffN59xQFPOj8WTepbmtKiCCAXwC7uJ9g7y7ZD135318mQZ6HeuixevJFF3qFMUybaZ2pD/GkYiqUsnKza7EDdWegS6w11kTcwpLkNbFu5reVD7VFRZd28Nc6wpXbWhDqO91E8wpflvH4XHNUNQwSpMPexuvMiWcMAd65hkT/WGnRKRu+rtQcEVtMKxE8r+vY4cJ7d1PQhm7pFMoqbJzBa7W+8gxnfMQvUUFv/bfsFT0ve2aQa+zBstYJZOhWdL3ncausYnaWH1nHmqqoSg2QdxiC9Dl4TWpHwnrJsrSqAKdVWZXDIPwnItmy8tP3ZSeLBSW0nv3ooGoGSai9+D0Ov4JcxHHqD0Ay5w7yw1hNqmGKfd8ZUA3ewiGenx7pjs6ZrQrMV+HNKYWkGx3r83cFKJ3HsO+Okk9qS3n1WolIQj6RfSGk4LgLvwheERshiCUCSec8LHYwUPS9PLGa/zkJurnJNZbyvRqDbARr4YfbOrmFPhfb8V5w0uTkIVemR8Elv8OlYiuZNKg/4oph1Ix30+YL3FbTAtCexLzfaPfNvmxBaMxc7QZPBJgHcMEhuid6Qor/ZNIkq8fk6+17wF6/Z9qchhzB3q1m8toHTnFASE4P5DEfjwy2zl0LnX8AHrzP4ONnuE1XYoA+F7pnDTslMpjkeI/I+ly9XLwcvUSDtKmegtV0W9pKMeHDQKptgKaVL6BEM816QAAz/g33JzDUtqi3R+G3if+fVeJWA9VqwaRDHmyMvio5wQgHefWzJUFnR6jzs+r/zad/JMoMKXNj2E5CZl9QJHr2gtpujJrQZtQMmqFYCaFNhw7QV7Ykf1agJBcGhDZvrsS624Zik+K3xAidMlarEkvU2rqWNe/+CrDpXlW1e0z8OrEZq8bw2cswjF+7FHdVbeokWTt8IaOgQ/8MQF6o0COIH8MbeqmAtdYugeTlnK0sTWy3BJRePiIK4Lab9RaMvjMUZPYHGzDnVAib6oZpTFZ6/6e1e1UkhADFsmuDKpBhXwhOI8ncqLmcKRrp+KNgybAjJGdOa39fOQQyWyYzSR+n6TOKlmxVlEnHTNtLlEDh1CyZ0SXvuieYMZ/NoCIBNP6gaRuS1B86nb2tadAunKw90U7OtvAI9BqzLDmVkHFcYxCV+r91WGh0s5e0qCDek0TLavigtoGI4ZAVJKPdr2FqT3SJFrpgQB8W9decNa5oXl2xsD7TYPkzllycsBelcaFd/hkofIinf0n939lcNEUIpME25ItSEjs2HvJvbsbcFhHUCcudV2uuBusgXppV3CD/s705LNw3SKIyA3+gl4Bm77Okpt692bhKRCxgiB3EBJf87EE1n97sem6Pud2WtDOAw/f+GWSRr8P/J/5gbfofNGNEJw5doyRcNvupyO+vcpxo0m9f0yXyBo+jgQKASAaFQLAeMn8PCz2MPzF/nsa+RAsCDccjcyx6+/pjBY0NpUcrH37zlxKHEoiCZoTI2EhalDb5xwK7zxEK0LtNp2SfqnYowG/Pg308INH56Qqjij1vtV2ohfyVYOa55DQMpTlxisEZXipi3E4RxCgGKn9f0I4s9uSTZ3JzHsN5ZIkPJkBxNKhHUD2njqkJvTn9XKR/4F3H/aMk48oY5xTKdt5s1ypAlCpTPPyTYm23X2sMW9vv6P494JQxvnaHvAUSaV0Rk2O4xfSyH6nRUyyD2kmgoznIke06j9EpQxe56eszx+dVAvCzfA2hGXafOmcPg2MGD7/zal5E30T2Gv8esykPByI9Wgl1DK4jdslmTih2zbVLv6+Cev4zRrDdklwe4x9Ec/3OGxNob/yg1KxLtnjuid6cdkRnR2LqfIfJelFQFTVeEyRKeLN+6Ghb+yPWVXsZBmJRZbELoZZquRhfmos5fB9XoQ3s4A7h5bOuaBrIuIKK1oElVNqbZhfdvbUad4c85WPp3UdWUCb19vnlE6N4MFRVMNeVrzgC4eiC3nchq52g/zgV6ACtRctxNtEQk7YYDbHMLAU8WrVxaghiRCbCLB9eVMCGvDXoEljyYVu04U+TJs2z5RwQWwgv4bZ+fe2ODzS0vrH4nbLSrgKdMCM/nG9VnYfNmSXAFpYV5S6YJDILX8dZVA5+hlauGV53iH2s+aQwMsUPjM1pt6nm7D4myjsLQIOJhDznG8gIZOiDPUL/KajYoibZWbNcat6iUJXYOSUPM5cmN09Ey2T9K8DyFUdWRXtr7bYrqYlLKJ2yHZc4EGtraXqyQzkKxTVpUAVSMOlfs8NJq7B1vJxyjfAEIl/WSz0ctS1sYj3hUjbTpNzDkGmj/Z4DNlnT6oCt7Dbt8JbMlAjvY/ZFMynYnKDDdmDU0oH6Fdkx853aBk51hI1fNDEaKkXKDG/CbbF8gPS3SVX1yNMZ1HTP9OR19QxWEG/idREKSy2vpzqQdXwvK37mm6CVj/9Zn8bpVczdIbrqaDxP3CE9EwqztVCMYLcQ+hVLx1AONKXqtneaTU1u4ugLFsKXtbdlT7oFpjmFJ1w+e0+gbHJ16Isi7BnC96K2pdiaLrhLYXGvaDGskUF3Lg4RYUUQ76YcF2UnHL1r6mV6peg/YYwQOfNMkOpf59ksBIbR38UGTk4GgysirvCTtYPvkAZiGms1zOHX2QY5e2DnbLGwRanOUu9yKZOJaPTg6pbVRKP8bcx00h7MT+qSFnpE4Cz7mdoWbB9F93fTLAYA+IviP4C7W3aoz3j+eY+WMh7bYDP+5TQwKo9UDhXYkFeqg5uh7wM7lLV+rWCOq80XeIFTGQaapNXfZYEGIe3arsIFTMNmFDcLKMP3JiTsUHYsrh1fpnhn7FTnpChK1Due0lSL+AsgLK4CNYW8z4KZCTYtu1+25xmd/xLVqynstjqkJ0bY330SfbyKdQz1LzhYwtZXhck7lhQBI+8ceDw1Y38Kqhrr7JwkxkG0RYfCSnPDZ9WL/9g1cMdcSxD3KMDfAttG09eZt/CNEop5LgEXTdwCtE930Nl4d4veKUl2EobbwzkRq90xetGvx0SMcH6J1IxQW4BEtCfvmY3euQWJ/lJMBR9WKvyN+ZeEwf2XmsKUJYGUquxoYxHRpxsZ+zg7Quz2JERkODH65NYdhsDATSlHiRDfKeNUWasJM4fC+Ca0YeqSJSRvUnEjITjCDa1XT0igHITr7PkRBwtNj4s7qjr5CKBOF0/AEXk6xePu0ltKx/MkybFIs7Ig4gNogOgPf/VFcAcmyYuIN55/ZUUmrYrWFGoZS8KkaiSiQ31fFcBk7MlRPC2APNZa4EGAFpQiuBWZezku2Te9fufaZB8dzWsHGM9kkVgdcrnD2JZIBNDkDYoASpCuOQETfAymol6Hw4CEMKbjL8+KfPR0OtLd7Fj+6RwFLCPZ+6UfoBE5TFPJygZFrlCnb8fUeP3TuKFLtu7/53JDLI1iIQaD9mXjMbhRTZoMZ27WMCTyVwaGCJ2cQMZrHzFJWQ0G4b4zUnlNAh6hBy9WOPbZy9Y34FmpErCaB1gEozD0aprrtyJ7pDnycbMYrxyLmZGWdivVIh5kNDygmBV4AqR9b5VObd2QK8UGnFaETBMxEFHdykh76l+U4s0oVvOL+90V1eiZat6G1Yr70ma2ErL7hDGKVomqZLBzGvqucvR3WFVqpbRmL18a2B5oAPXIKjuxOw3E6UoiYyX86iPHYvheX58J0kDRlvI/CZ+X/WzscXWIZqCKZvumCk1Nn8eIzg6UCwNT+pVrD65zaQNHr/YwHjoK6dbQenki8ayV1Ds+UlwMNLJaBDet8MCrOiXrvAb50jFupnqZJb9DUhuoWQFNzLy23ZHVEeZC6djGrF3THv0MeBtWf1OdQBwM0q7WN7i+ufcwC6dSdDmJzIKDJ/GYZcaG08WHNodsh1gTxumRGy2vCeU+64h4/k12awSgZ6LdbVk13THCNGb+l4mbqSXDDfZdn8zEagDoMtSJDfoj8R8Eg/ugSC6BH6YAtUXndaitajHfYfgGfIhja5zgJxSGLxvpP8FktcYECfyoLgYmqPBbeIeZX3PU0Rwm3J98lT3XDbbc/EDqbo7rJJz5/UbQoUbNiqNgjkCV1E3ZFvxUsGn65hhcn1CkIkoVyymiq3TRSz5XVM9zeIicQbJXw6nNmLhyFZ/Wp9U3RDfIHdGvabG1Pu/5ZoOqdASbvdU9+7g5WCABNR4ujoSRgtc2FGce4kzm0rtPRC1nRrW4LbcyEQ/ACvjRtKvCQ3m82OX5Q6nSlvLmvB+hXXhy9g8/c2fNl2BfpiobQnMacgHM0ZXwi1L/6yVCmq+vADhq9+p3VvwD4lFShw+T3gy1oJfWuY511yvmJfi6Kh4/jH1kC7Y3QlR5Hv0SdmbIqK+0Ozs2nvWSe7wN7uGYqU+0xwvuM/rGEYG4uvpJtqMUBwqL4ZU3w3hvjt4fh+DmH74vmxOgBcCureBHcgBpEmi2/RXHL0B4/z3KtkGx48p7zPQUoBJQae45fdZosoyrGPJUZsdu2uggbqmWtCK+UXM+TYA5U0sm3upw7ZIRwVRVxJwwgb7ueVrgsrIzG+buZlC+JQVzRvq9MT+9pQBKdmngkizltkBKxOfiZ/eoFwyOqyM+aXijgg9pIc97ni+/Ki+XEYhY6w+T5lQ5mA2bD6rSp8e9QSbN+YqtSsjYobwqPzae4fBQgtbibBF4cX2cu1XUxsNss8Za5IcjIWIlh6C+gUfT5MOJdSEPqqCGDtvsC3aG7hWf1K7xq1qJtuQIFS8AiCleZQpo85RkdwyUhPc/HAymg9hFbk3hDzBnfV1UsNmeQD+ixMpLAubTIrLr1L5esa7xAm3YjTbYHcyPvpj8tyou8By3+PmociBuXWl75gAULVx60vxpR5wQFs0hYKQH4WJimMO5Ti/MS+ZLLyTR3a30mVemPYPwS5X0vWwJ+p6ZYEV2BHcntuWFJpNflDxLGG2w+lTu7vdh6MKbgvD7YtBiDltvtNQL7IURQ271MMFjqB0EAr4+QPhDqJY1SJkT4G+jUgz+Z/Q5Et9WFOA6PSUFeBC1ZIhXnsLYeKjNW3Dcxt5dh1v9GXay8C7DQb0eHFUzn0e4PQYHizXkOphraeoCbC8xKYUlYbUFpOlA9Dxi8vIpNOHTfatDXlBo87NbULI3GXkvCBPau4L0SrzF0pBjY0f5sCyWUresJMRCAEog0c2OHJAGQiOtIrR12Pmhicdu0Q7LYxXBLFxxVSDLJt8rA/tgiWlAapua+Tf/lFaTXZHbaFTn9vRNL4xCNLwEnDO6Tjci6jOp4ONf71wnRutuCVuEnsaKovnsNrc7+LHxUn3hP4+WBIZ7dQC+BWdLn09xOQEoZJxCxoGc/VFo9vOIMgt+9Eozroqj9Yg1z4tYAOluVFqPZK3j7re/RoKez4hnyFMwwOf2j4CHTe76gF/bHcR4Yn0PCeDqiQ1gxGF59wNXUPu00hffEUiMLTYRjf8uEwzgaeatK4AI4oV37MGjBpPLEUsSN6T9emSPXrwvHqHJgpTzCuRmsl/l8o3pwqbNKBCH5FO8zhL9HechBImSVILHXIcOPzcGgsgp0q4zeCKAZG/mS5j15Y5lry7ox5pF69s7qTVMEoFtt9I0YkEd5QD8CprKqfeHiUYcc21mUtqn/d6X39hdyqXzGwzmlMLuDB2X7lfvkhsUG6qtdbEzkWLUUfAKQDTeySco9IMHKgCD12A6lvG4sV7f/lo+4tAds5XtOj0c2KGtuXqA6k67pbG16fNr9mz4/IpGTVh7alugfeYLve8d7EGCJcfVPueN5Bs5xrZliEnte+38nh6OvYNX2LKYsTNqFBj/zF7CEVq9nTwpnwS46NjugtJxpbmr0dNsOMzZiiN84c4Radcoi7467vztmi+ZQilbxVNGyAr5prICzecj53X17wde3WCvWg1bUaWvApATB5VDKB+Fc7Ma+Eck2JsswDPUduMO32714mNtBn/qXniLjUFGTsoEEwj4UhblxxhKkl+UCCeQkSFp+spLWqHHagw22aNnhTTBoJW+e+G7zAMV/vSDGt8FPPv29LE+8RFObniJwt9j+NYzI7gti8Dj5GDnC5TqIriTky0wVg0Ca+Ws1lj4JWOjXhycCYv5Z/bWhyJNw4LEk3Ti4qoRvsJyHP7ElJ/I05XTfqH6oOi9rIiTmP4BkovvpvL7vIjk+i466wqUyoca5Nb6QubSzCxjInkJoWCEIMs8m3MQ/B5H3RmQflV3UnxFYo/+l0f3kMxI3vfQ06PD62/Zn3BUW6pA3yvZwFgX4J5tHQ8rtGaOuZRLKDvCGzfAxXynBOdED7sudR5FxXNAPaoirjlmqbmR609yGMtGhSYVeWWO53RZ2NBhTamgqymkrjJ/s3CQDt2Yp1WXn2gRXU57ukSwHIpF1P2BKytF4CH8GMYLeCZxaGzf4cPypKua+GR86JteTsla+e7LGHXdiC13nP+aWe51m2pV1xYEmng6e1p7n8wHdwCUlK6Uz8u7DLiFvVO+1hwTb8iR8p4nQZZEEqCGpusqVG+f6q4eTAISmFjiKQraN2kEnU29HwdcG8LtxlwGlSRganj+DiolDbwTZjYxOIbr9PGpXZaBPYnKaxNrOG0INkBo7oPXu94W9Km0GXtwUhiL9Uy3CYUMnz8vHasXQed/qUKcNvKmvSwO1P5Cbbu78pzwcdGNB71vO5p5KbwUJYfrt1TUOWs5OcvckV3/+VV9i8Pbh/k0KCYTq45S/5cGfVDHqeuAlPXOGTwbwu2S61wDDtmmGOgnuiHZzYrNncd7vRH6EDP7wrUzkmCx+/nSE90AHgYd2G7xgSDfD6AewWW/mVH8K6gfoQR6qhKduOJzC1WylZlio6jnGHS9oRVfPAVazw+gNh75auhqmqni7F3duV7lvWIwOBochk5PL56AvdlrlgjWSrBBiAIz0qCJwhGJwrybtu5HJZkEyZrDbYCN4LYGRQMUehelCoFwvEINVYJvFN3PL9AhSKkaGuJ9PwR/rdTjItpF1a2f94KNmuD47BumSjyoMDwt70kKdWabvEK5P6FzGLmSLdj0oO+2tnwyJ9tg0e6dn1pubmuFS66UHleUmRHp0nupwYEJs45/w1aK9a2h0dRSo0XJMAVHpkxTuxH9kiuSXGn4wxh+RMK0tSrx383c8Eueh8B0l2LvXR5IGFWpkRziQWTiWh0jbq7oI9VhYgYMbu9aeER7Ctoc4Bycyg3aD2gjKzFgMQbnaaLRPBFCdF2TcNC1NVDO08saap/FqYdkct23SsW7uQ//r8nZ+Yc/nJUR0UyDd/HzJQ64ZZDIvpVATggFpxehjEjYyL0iDxUdRu5cDPN51lo+lMzdSRtl117lwD1Z5CqeyWI3UbWPyCHLo6C+sLT6fTCG9v1udZKfIl/I1J0eNs/k9JtKOfv4oIMrZXHt1H/cu/NZ2Bv/NyxWCSE4nZw2w09cFQYGIVWgvVSCcuGdElrUk0gm+hotdhIxq+v0vDZH3woJhtfc1LOTAB+aVWlj20L8UajcvVnG/bHoJpssxW2IYgHQZhWf9GvpARDaBR/41oWxJQH97VfSKgWGo/xoB6YpcqbhhOV6LxSS/ISfVkx+yM53aTWKa7tx5WHusB7VzbJDDoh9i5oM7N8l9V7W+LR+Mf41YdaU9kNSEOARvzS1UAxm70QEP+PzSPgE4YYYm0P2esu2EMkU9E6rF1tUD2/YhA3UhurFcFmRq2chb8WcCzDV8QSi4Fwc/UlLXbWU0nX2UHRKw2iSh1TdnZB51/+RyRciItFYVMtfmmnN4trbyWZuTwWpV44iIZkqOaeynHncOUUiBR8C/nCgnRXBGh+WiZ/akl140I0hNk2t9kY79kIatdSZAIJwVjQOpAeyg6FwdPYtAeSS2CoFYwwta5iEJAGSqUKUtNH6JNEMwJylSMN9T08mBT1aLIOt0FCt/BRpV+3Kc3q+4pQHZeXWHJWD3IQJA3qFs5qotKnr1G7Hd/o3N+mTHYRA3alrBoapd84jsCeJ/HhbxTcYzoAMExAgyUEQb21t9BtmhUV0VSGvsYMi3kCghZDo+b2/S74V0WyybfShu9ZT7rDDnOHt+1erOxDTltH5HCvWTcGXLXTBbg9RmEcvjVVngl35UehJKOIIqUkqY2zMNV24k0760UPztniCGmIBdD0GMf/A7GwKgL/Tsv7oX/CQUhhOfG+3pGjzWSwYvv05QbHbC8lzY8K3KrMr+BacgK2W/ZHGE0sdt75lGW8JHhgHJ1FqSRuN6fC12R3VM8CPzp48Kmu1QZy2NYYT/bdoCI9AcQjCZmVsOs87mE6og6H6egfMDtVBfIxEUBm/h54GCTcIGmiR41jmVSALhuhXg6Y5ILc0+OmUfz6F9G9oRGI1nvjyIuaJicCKR6C6v4pjc7E/rzF1QuwBo9uKv8V1ZbilxKa2yHFEQqhATuv7oZ9hM6UpBUDeme7mJAEXnOi3rzV2KLLUqskuwcIfv7lmEPTn/o2zVlYe6v0UDr89dT7hzTdov62nih+aZNc4dCJVQqNNUYWoD3+YNuTwEyhtSZUxwXBCBPRoHxIkZlyO1Hy+m6sFl8g7wtmgsZ/zFiX00pyxEP1RIgtiKVj9QTq6ya7AsfYFxfue05e7k+ffVn1TktdLEN051EC4M2a415c6GB1sm4Sx0r2qbHkFV6fEfDk9xndjnusyzoqDcxjYxYoM/r5+8CnZXvOTh6wpdMTaFLjuUvBSHJ6+cd1km2NEQZYq8VMiJQdpy9R+RSyAjKGAOw88YHZHuho15EHpbHo7wDi0dd/UztM22HfvtaB6oMmsFlRUzzxpPAsPPDFzjuRUu5BKsb+Utlf3ntcQXj0Prn0zxMaRDegp5hUA0O4EO1uZA2JBxXRC8A/LCzSFj3pki+h00uhf7yGH8rvnHc2unSxQHfUP2zXw0yVyH5+zUsg82xp7dVRYdXU9zKXYuGluN9ffY3J0KuwNs2hKDI5Md2MaHZ1GdHocEZoJiNkM4De+p9WC5/0uX6c8mRQXJK/ansHacVqQnSzeWq0lcImJxKs5eaCP8ME0psdWnzo0YUSNMDC4vMjZRWoMWCtmz1Q1SNsxbOC92ebIg7PXpvxIJ9M8T0hSIvqCyq3r/v10dVs+0NaotXcuZt0XW29js5EQqyb4GmQsl1sXuZxSan6NlNdwHqf+4EwvU5VUeljWEPg+RwC96M7ObAkAHwiDvSVXapNAhGv1gvnQ5RxeVA0RFyJwsqVNhuCjF3qvFEiuapSEIIUlQJg55yvVwJI81zX97oTAoycm1VF2RkoAeDv66TGhgthfPB0IMmweZvDtvgd6gycMhI4pZNy7eifKaBs2JQqY/unlMhxa7qtMTZspUxN2eU8aoylLyb++pVlDxPAhKV2G+IqBul+IqsZkuhAwfwuJ42AVSFYKG5TY+ns0p+5g+uiud0MutuxPnuuMFkwNm6cbpRgGBZPc6qMcdaO8TCaYIpSLxauUloVWz4gOtcEvtWHQDiS342LoNgBt4Qaof62HD3bdFkMKB7dRVJNG2aGoOC5KjUfXYfzqu4sR/+kRos9UbVcMVDlIGtegDtJBMQCYcch0p8XfM/2kfhQVKRRxGo48pIcRhTaaWh/KFgHCtQJoearnFNusUWHq9oGLu9Lh/lOyLAI/oOvSnwIQoseMSO8DR9kq9cZp0bwa/+JUU0OvKWYiYibKqA76n4ffX0uT2a/mWgpbqHQbnvSKLt7CADorc+50fJnQjlaCrdem7LGe7ZYIHLi1Iu3SyTGPR46XhO3J30kJhz7DEi2A0+4nDFiZnsaQRiYXVY/70qsnACjlS8aDkw7MeIAMwEvjMAm66BfVtu1Jnwe4kEYfiHExgbHA4J+eukvtE9g9gnpUu/3f7QNILQO3Gcfueb/sWjamYdIyd88hVOv3t5EO3T2xuu92wXMhzP2dIrFxw2EuYiNawm+Hp3M/YbNtfXqHGtuoSDoPPiu6HRzpKclwjAYE84qwyZzyn+XGqPfwpFBwESowDgnqZnCypJuVzjgyZ0gQplPyHcTdAD5rhavqLC9t5tuMfaxj5FwLjKG2gWsxcq1Qw6hpdntblz8VAFmSdG2Koybr/pHUEYyXvo7PEH6eOIjcFrhqqwN/6tVerVLx1WX90CH8Ot7fYT2YVtmW654TLXUnH1vAGTKBVZxTsNs/InFPT16YEgBI1dTlkMIyjUHzG/It++pfc2sfQVrcffFv1UKNNSeYeofjqP+qrhdZ7HoT2RkpXVGzuZQxJXHZS4iPt/E+9emZw6ECkm4ZWcfFq+i8rJjJSXy5BBcSdURbobeNxo4F3CaOw2Jc+TMWkndgyEyMUJt5sjpkNbcrWA0iIw0sfLtU6mfpj+hlpLq9hYFHw9pWyA3fC6+i0F0jRh1dSx7boDx28IxNwPLxZk8FKRKLY+AAY4ht69ysKxgHT71hc8yBxSAiCsXBbdW1gw16XwsvDoxKZBjGWoaTo4oge+J2U5/xvmzqbOfIzamoMyj94sdlpQAcgnt9rkRz9TI2DRAtYQPfVKb0BfAh8MFH56vMDV0zXeugTRaOOvXEyaHQPB0eGUJSEFvfMXU/pY1CypDFmZrzWOTaeZqPoXMP0KGJQAXvjQu4Rtxf20MxieA1BrSvXyPh0f5ayOSZbhxRJJhzdOw3/5ZWjCAYD0Lx7aNepj/JRsGgQdcNIZ7pwPgtZMCyzBgPA4yThRtRac4yAFU6VrGgduWjp58gclESKScKSgqwSa1HCCrU0A1/nB6kPo/HZL1BjZwj8uaN/d0NUsluJr0v7ECDBTjmJvRUenRRi2QAy8AhCrh9lotX2lvxcg44dnr41hRKCm97HOWOkOCsWgn2ZyKDVV+59P6y4h8vmn1naunpgSBdQ2ACDDGBIC5Ip6cp25yxHb5Nb3bUKw00QgR6LRimw8R52dHMiwZhjz4mTLJeA9jT+nP49fNYb2yMrGr8r9GOdJjyZIYYnI04WivtC6tIlsCtDmUqCuxXdNsUqGvXg0abwe2JqTLhHTlk1728GRlhP+ZztVDVut+XBPOMdJulFQ2n+pR7OfPC5OkIAZRkdIoV1y5fK6vEZQgrVKFe+RgqWDmwA0aU3JQ3I3NOgoixYvr9bXGQokRxVLKe9jOL76yvP+xXKPdbscF2+uz7o5c6qI0ULraPWeRQDTf7Q19q+ANx0xXRJD7tI5nZa2ZA1cIHZXTQDHdr8hSQSv6aQiiZY/GF00bIMTwfvl93F9hyOtRuzpAWpJqk+SR6Gl5BNCsMUd4NZP60R1ZoPMfGMPZOmq1JlFBgtZjkU19TcrvQ6fEjZgHeiqlgIDjOOABiZ6r/ZNUT/nSPMJ9V5y23jAW+VzaHjguxb3Kz71jAcl1Yujmcyrl25vHYnURP2vqwnG7I6zP+gMyjOh1gvPYKbb9JjalB6e7K4Z3igDWR5YQnFuZsOWs1IR6H4EVC868UhULyWaBV8nCeeDv4WehZGZWaS9pXaKweXJiAgQCUjRuXUDkeVjhEbLHlxMsIbMVHDMwLIwYexbpGNXpEKWEsYAvj0tSxpFABcFgOdiccNq8C16DrXbiB6ektO+/KvvldcdWr8eF6zSaMw4mzBJA6jqdS8EnTogKm+EOpBwDr1LgHewERnpKzLfZtt/zpu2gtcpSGnCc8je8gXCBhU4ptIwPuZSZI/tH2XInidQittgxuL0rdubDw8QouzCjMkzFdlblkZ83bAODNHTS/hSqnkMg1/df+zXPtAmxAR/fcq5UhF5RAyl1+kCe0vJrwz68lrH6n/yoo4vYnqmg49JXPcIkoplwxkFElm7Xvp/CU6eQPViP6dxpn4djdG5Ge3IErzkLHIxYpbUygaM922nTlKE3TRJqFXwNLSJqWGFj23Rd32z5KM05BycoMBTpF9uMbRRu51i0+rLaohXb+W1Avx2wnZN9hzr9imEVSPqps3XgeIdFd4HT1lu3k361k687ofyB8i7p9WqXoG1qEKIAWYX1QxBj7DHPeACdNc8CT6nwlKTYNQlBnhc1c0zRSLrVgmMUNvoR1NAhpUZ61EkVXzBEFT7Jqz9vPNoIwbIi3gVQX14CtRY44SbUK9OB6zOuaEuo+MB3ijFwO9511PydKMX5L4foolCBIKXOcSVOin4Kp8z/AMHgiECGFlQhC9tIJOehUa20BSMqtJqDq25qUX93uL9rG74RpKm5ni8idxvsI/ZIGZlEEhGu0Yw3FcSFM9srulsEKV4YyELURkZags+MyuFtmMXKvFqmIuR0vvXy1LnFiiOIVXxW7UvKlWoVL0OMUwfZ8MYI0dVGHLmwVcPlp1WhSN2fIA8p4QbCDKxqyFt3kBAnGEwi1c8P/GESHNtZSDACncW+2l5ULo+wPP62I6b3HJc1f/wP0JGI7O3LQgeXglqJDaJ51Yv2C45Kywvw7P2OHCB3GNdSYKBtSC4nCUl3zalCd1AQtEmcMIDnhlXpEuDGqUojq+2aCUmpT9P4i9T04SszGav1d8igXZwcCr4oEuG7XVcUNJk0NL7sAe0+Rv3bgLQMYSSFwhPM1odA5HpOgTqAvYdcY692QNVIvT6BLJSCTOPCPuY04KFwUf0ymwfRjYCPtQB/ZgHuGaV5f6PlvAUhiDUYZUv89ipEcTFcAeE35ue2QYF4ncerCnb6dZVngbUCMeMpeXMwBYHmth03VC/GncvGg9j35ky0xnxtGC9yP6dJOS9U9//sHw250UGEKLD6iDeuw785A3MgosjNT3fIJYbPDYrZovXGqlKOxU6BUafbdW5x7ymF/Gj6CutlGr0i6QNPeECYXnTmklqMHV/mYUBwZ30XfWjSL98cOamoNs3KRVUgN5BmUnAe0wsi0dP14iztz9/Pf9x0NSbGUmNnaFYLAa7Jb6olwPsAOHElZad5Wx2WFb4ytaXxShY4oIil1D/cr9PYAqXsJw/7yYzMwEmjT2jSyDGKmvA/OFnA8F1ssLN6F/8M2WdGRbkp+ohFCwtjGcurnQ+lrPvtnrhsmLAjgRKz3U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1_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2_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94BD78EE014641871BE0AC327E8323" ma:contentTypeVersion="5" ma:contentTypeDescription="Create a new document." ma:contentTypeScope="" ma:versionID="025aef7002659a7f9fb751630d0294d9">
  <xsd:schema xmlns:xsd="http://www.w3.org/2001/XMLSchema" xmlns:xs="http://www.w3.org/2001/XMLSchema" xmlns:p="http://schemas.microsoft.com/office/2006/metadata/properties" xmlns:ns2="84ff6eb5-ea5c-4414-bca8-f7b0b13905c1" targetNamespace="http://schemas.microsoft.com/office/2006/metadata/properties" ma:root="true" ma:fieldsID="31d543ae2954dc5e11d6a263e3385a09" ns2:_="">
    <xsd:import namespace="84ff6eb5-ea5c-4414-bca8-f7b0b13905c1"/>
    <xsd:element name="properties">
      <xsd:complexType>
        <xsd:sequence>
          <xsd:element name="documentManagement">
            <xsd:complexType>
              <xsd:all>
                <xsd:element ref="ns2:xSherpaClassifyTag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ff6eb5-ea5c-4414-bca8-f7b0b13905c1" elementFormDefault="qualified">
    <xsd:import namespace="http://schemas.microsoft.com/office/2006/documentManagement/types"/>
    <xsd:import namespace="http://schemas.microsoft.com/office/infopath/2007/PartnerControls"/>
    <xsd:element name="xSherpaClassifyTag" ma:index="8" nillable="true" ma:displayName="xSherpaClassifyTag" ma:indexed="true" ma:internalName="xSherpaClassifyTag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xSherpaClassifyTag xmlns="84ff6eb5-ea5c-4414-bca8-f7b0b13905c1" xsi:nil="true"/>
  </documentManagement>
</p:properties>
</file>

<file path=customXml/itemProps1.xml><?xml version="1.0" encoding="utf-8"?>
<ds:datastoreItem xmlns:ds="http://schemas.openxmlformats.org/officeDocument/2006/customXml" ds:itemID="{C4653193-3C22-4C1B-A76F-9989C4E83C18}">
  <ds:schemaRefs>
    <ds:schemaRef ds:uri="84ff6eb5-ea5c-4414-bca8-f7b0b13905c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F67CF06-2CD7-4D7F-85A6-84F8F4780F1A}">
  <ds:schemaRefs>
    <ds:schemaRef ds:uri="http://schemas.microsoft.com/office/2006/metadata/properties"/>
    <ds:schemaRef ds:uri="84ff6eb5-ea5c-4414-bca8-f7b0b13905c1"/>
    <ds:schemaRef ds:uri="http://www.w3.org/XML/1998/namespace"/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6</TotalTime>
  <Words>1013</Words>
  <Application>Microsoft Office PowerPoint</Application>
  <PresentationFormat>Widescreen</PresentationFormat>
  <Paragraphs>128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1_Bain Core</vt:lpstr>
      <vt:lpstr>2_Bain Core</vt:lpstr>
      <vt:lpstr>think-cell Slide</vt:lpstr>
      <vt:lpstr>Digital Deck 2 – Consumer Sentiment</vt:lpstr>
      <vt:lpstr>Brand ratings: Target mid of the pack on advocacy with a 3.8 avg. rating; Peer 1 leads with 4.9, followed by National-level brands</vt:lpstr>
      <vt:lpstr>Ratings overtime: After peaking in 2023, dip seen in Target’s sentiment over the last year</vt:lpstr>
      <vt:lpstr>Sentiment drivers: Target rated net positive on the top-4 / key criteria; Peer 1 leads on advocacy on most of the themes</vt:lpstr>
      <vt:lpstr>Target: Largely positive sentiment around staff professionalism, overall customer service, quality, and timeliness &amp; punctuality; minor concerns on price and reliabilit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Aphrodite – BCN PEG Digital Diagnostic</dc:title>
  <dc:creator>Dantes, Reuben</dc:creator>
  <cp:lastModifiedBy>BCN</cp:lastModifiedBy>
  <cp:revision>2</cp:revision>
  <cp:lastPrinted>2017-02-15T14:23:56Z</cp:lastPrinted>
  <dcterms:created xsi:type="dcterms:W3CDTF">2023-10-17T19:56:54Z</dcterms:created>
  <dcterms:modified xsi:type="dcterms:W3CDTF">2025-05-29T11:1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194BD78EE014641871BE0AC327E8323</vt:lpwstr>
  </property>
</Properties>
</file>